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3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6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7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8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4" r:id="rId6"/>
    <p:sldMasterId id="2147483698" r:id="rId7"/>
    <p:sldMasterId id="2147483706" r:id="rId8"/>
    <p:sldMasterId id="2147483721" r:id="rId9"/>
  </p:sldMasterIdLst>
  <p:notesMasterIdLst>
    <p:notesMasterId r:id="rId20"/>
  </p:notesMasterIdLst>
  <p:sldIdLst>
    <p:sldId id="896" r:id="rId10"/>
    <p:sldId id="1312" r:id="rId11"/>
    <p:sldId id="838841345" r:id="rId12"/>
    <p:sldId id="1311" r:id="rId13"/>
    <p:sldId id="1272" r:id="rId14"/>
    <p:sldId id="838841347" r:id="rId15"/>
    <p:sldId id="838841350" r:id="rId16"/>
    <p:sldId id="1317" r:id="rId17"/>
    <p:sldId id="1320" r:id="rId18"/>
    <p:sldId id="616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CC7D834-BCB9-4A0E-928B-499FF22F87DB}" v="1" dt="2021-03-01T18:11:35.25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67" autoAdjust="0"/>
    <p:restoredTop sz="94660"/>
  </p:normalViewPr>
  <p:slideViewPr>
    <p:cSldViewPr snapToGrid="0">
      <p:cViewPr varScale="1">
        <p:scale>
          <a:sx n="54" d="100"/>
          <a:sy n="54" d="100"/>
        </p:scale>
        <p:origin x="123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lark, Connie" userId="73351e60-ad32-4085-a232-1d9f9b189479" providerId="ADAL" clId="{67E60BAE-C65D-4127-AFFB-2197F0786EB1}"/>
    <pc:docChg chg="undo custSel addSld delSld modSld sldOrd">
      <pc:chgData name="Clark, Connie" userId="73351e60-ad32-4085-a232-1d9f9b189479" providerId="ADAL" clId="{67E60BAE-C65D-4127-AFFB-2197F0786EB1}" dt="2021-02-08T23:38:12.011" v="4157" actId="20577"/>
      <pc:docMkLst>
        <pc:docMk/>
      </pc:docMkLst>
      <pc:sldChg chg="del">
        <pc:chgData name="Clark, Connie" userId="73351e60-ad32-4085-a232-1d9f9b189479" providerId="ADAL" clId="{67E60BAE-C65D-4127-AFFB-2197F0786EB1}" dt="2021-01-12T14:53:37.496" v="960" actId="2696"/>
        <pc:sldMkLst>
          <pc:docMk/>
          <pc:sldMk cId="609136180" sldId="613"/>
        </pc:sldMkLst>
      </pc:sldChg>
      <pc:sldChg chg="modSp">
        <pc:chgData name="Clark, Connie" userId="73351e60-ad32-4085-a232-1d9f9b189479" providerId="ADAL" clId="{67E60BAE-C65D-4127-AFFB-2197F0786EB1}" dt="2021-01-22T15:55:17.582" v="3844" actId="313"/>
        <pc:sldMkLst>
          <pc:docMk/>
          <pc:sldMk cId="1729917679" sldId="616"/>
        </pc:sldMkLst>
        <pc:spChg chg="mod">
          <ac:chgData name="Clark, Connie" userId="73351e60-ad32-4085-a232-1d9f9b189479" providerId="ADAL" clId="{67E60BAE-C65D-4127-AFFB-2197F0786EB1}" dt="2021-01-22T15:55:17.582" v="3844" actId="313"/>
          <ac:spMkLst>
            <pc:docMk/>
            <pc:sldMk cId="1729917679" sldId="616"/>
            <ac:spMk id="2" creationId="{7435F957-0CFA-4166-8FD3-A51C00ACAFD0}"/>
          </ac:spMkLst>
        </pc:spChg>
      </pc:sldChg>
      <pc:sldChg chg="modSp">
        <pc:chgData name="Clark, Connie" userId="73351e60-ad32-4085-a232-1d9f9b189479" providerId="ADAL" clId="{67E60BAE-C65D-4127-AFFB-2197F0786EB1}" dt="2021-01-12T14:35:04.116" v="10" actId="20577"/>
        <pc:sldMkLst>
          <pc:docMk/>
          <pc:sldMk cId="3287457382" sldId="896"/>
        </pc:sldMkLst>
        <pc:spChg chg="mod">
          <ac:chgData name="Clark, Connie" userId="73351e60-ad32-4085-a232-1d9f9b189479" providerId="ADAL" clId="{67E60BAE-C65D-4127-AFFB-2197F0786EB1}" dt="2021-01-12T14:34:45.731" v="0" actId="20577"/>
          <ac:spMkLst>
            <pc:docMk/>
            <pc:sldMk cId="3287457382" sldId="896"/>
            <ac:spMk id="6" creationId="{D1999804-DAE1-4EA4-954D-13948786EF01}"/>
          </ac:spMkLst>
        </pc:spChg>
        <pc:spChg chg="mod">
          <ac:chgData name="Clark, Connie" userId="73351e60-ad32-4085-a232-1d9f9b189479" providerId="ADAL" clId="{67E60BAE-C65D-4127-AFFB-2197F0786EB1}" dt="2021-01-12T14:35:04.116" v="10" actId="20577"/>
          <ac:spMkLst>
            <pc:docMk/>
            <pc:sldMk cId="3287457382" sldId="896"/>
            <ac:spMk id="7" creationId="{B727CFFD-FBB7-4F08-85FF-BBEFDEE695C8}"/>
          </ac:spMkLst>
        </pc:spChg>
      </pc:sldChg>
      <pc:sldChg chg="addSp modSp add ord">
        <pc:chgData name="Clark, Connie" userId="73351e60-ad32-4085-a232-1d9f9b189479" providerId="ADAL" clId="{67E60BAE-C65D-4127-AFFB-2197F0786EB1}" dt="2021-01-14T13:31:26.487" v="2823" actId="2"/>
        <pc:sldMkLst>
          <pc:docMk/>
          <pc:sldMk cId="378968893" sldId="1272"/>
        </pc:sldMkLst>
        <pc:spChg chg="mod">
          <ac:chgData name="Clark, Connie" userId="73351e60-ad32-4085-a232-1d9f9b189479" providerId="ADAL" clId="{67E60BAE-C65D-4127-AFFB-2197F0786EB1}" dt="2021-01-14T13:31:26.487" v="2823" actId="2"/>
          <ac:spMkLst>
            <pc:docMk/>
            <pc:sldMk cId="378968893" sldId="1272"/>
            <ac:spMk id="6" creationId="{DB622F97-FBE5-49FC-96CD-9742FBF5C345}"/>
          </ac:spMkLst>
        </pc:spChg>
        <pc:spChg chg="add">
          <ac:chgData name="Clark, Connie" userId="73351e60-ad32-4085-a232-1d9f9b189479" providerId="ADAL" clId="{67E60BAE-C65D-4127-AFFB-2197F0786EB1}" dt="2021-01-13T20:31:37.581" v="1573"/>
          <ac:spMkLst>
            <pc:docMk/>
            <pc:sldMk cId="378968893" sldId="1272"/>
            <ac:spMk id="32" creationId="{30821989-236B-4B92-A80B-993284017FEC}"/>
          </ac:spMkLst>
        </pc:spChg>
      </pc:sldChg>
      <pc:sldChg chg="delSp modSp del ord">
        <pc:chgData name="Clark, Connie" userId="73351e60-ad32-4085-a232-1d9f9b189479" providerId="ADAL" clId="{67E60BAE-C65D-4127-AFFB-2197F0786EB1}" dt="2021-01-21T02:15:57.907" v="3523" actId="2696"/>
        <pc:sldMkLst>
          <pc:docMk/>
          <pc:sldMk cId="2743390201" sldId="1291"/>
        </pc:sldMkLst>
        <pc:spChg chg="del mod">
          <ac:chgData name="Clark, Connie" userId="73351e60-ad32-4085-a232-1d9f9b189479" providerId="ADAL" clId="{67E60BAE-C65D-4127-AFFB-2197F0786EB1}" dt="2021-01-14T12:34:25.331" v="1963" actId="478"/>
          <ac:spMkLst>
            <pc:docMk/>
            <pc:sldMk cId="2743390201" sldId="1291"/>
            <ac:spMk id="2" creationId="{CA1E811C-E65B-4535-A237-B2F73DC71F0A}"/>
          </ac:spMkLst>
        </pc:spChg>
        <pc:spChg chg="mod">
          <ac:chgData name="Clark, Connie" userId="73351e60-ad32-4085-a232-1d9f9b189479" providerId="ADAL" clId="{67E60BAE-C65D-4127-AFFB-2197F0786EB1}" dt="2021-01-14T13:28:38.616" v="2810" actId="20577"/>
          <ac:spMkLst>
            <pc:docMk/>
            <pc:sldMk cId="2743390201" sldId="1291"/>
            <ac:spMk id="6" creationId="{17367D89-1C80-491A-8E75-2D70431A3ED7}"/>
          </ac:spMkLst>
        </pc:spChg>
        <pc:spChg chg="del mod">
          <ac:chgData name="Clark, Connie" userId="73351e60-ad32-4085-a232-1d9f9b189479" providerId="ADAL" clId="{67E60BAE-C65D-4127-AFFB-2197F0786EB1}" dt="2021-01-21T02:15:53.257" v="3522" actId="478"/>
          <ac:spMkLst>
            <pc:docMk/>
            <pc:sldMk cId="2743390201" sldId="1291"/>
            <ac:spMk id="7" creationId="{F426C58D-315C-44B4-A69E-CFA91A4E7537}"/>
          </ac:spMkLst>
        </pc:spChg>
        <pc:spChg chg="del mod">
          <ac:chgData name="Clark, Connie" userId="73351e60-ad32-4085-a232-1d9f9b189479" providerId="ADAL" clId="{67E60BAE-C65D-4127-AFFB-2197F0786EB1}" dt="2021-01-21T02:15:46.028" v="3518" actId="478"/>
          <ac:spMkLst>
            <pc:docMk/>
            <pc:sldMk cId="2743390201" sldId="1291"/>
            <ac:spMk id="11" creationId="{063F9053-0556-4F46-9F3E-34CB48703876}"/>
          </ac:spMkLst>
        </pc:spChg>
        <pc:picChg chg="del">
          <ac:chgData name="Clark, Connie" userId="73351e60-ad32-4085-a232-1d9f9b189479" providerId="ADAL" clId="{67E60BAE-C65D-4127-AFFB-2197F0786EB1}" dt="2021-01-14T12:39:20.707" v="2205" actId="478"/>
          <ac:picMkLst>
            <pc:docMk/>
            <pc:sldMk cId="2743390201" sldId="1291"/>
            <ac:picMk id="9" creationId="{3D31DB53-5231-4132-AF79-19E1155277E3}"/>
          </ac:picMkLst>
        </pc:picChg>
      </pc:sldChg>
      <pc:sldChg chg="del">
        <pc:chgData name="Clark, Connie" userId="73351e60-ad32-4085-a232-1d9f9b189479" providerId="ADAL" clId="{67E60BAE-C65D-4127-AFFB-2197F0786EB1}" dt="2021-01-14T13:28:15.891" v="2798" actId="2696"/>
        <pc:sldMkLst>
          <pc:docMk/>
          <pc:sldMk cId="759337865" sldId="1307"/>
        </pc:sldMkLst>
      </pc:sldChg>
      <pc:sldChg chg="addSp delSp modSp add ord">
        <pc:chgData name="Clark, Connie" userId="73351e60-ad32-4085-a232-1d9f9b189479" providerId="ADAL" clId="{67E60BAE-C65D-4127-AFFB-2197F0786EB1}" dt="2021-01-14T13:39:49.281" v="2856" actId="2"/>
        <pc:sldMkLst>
          <pc:docMk/>
          <pc:sldMk cId="436368184" sldId="1311"/>
        </pc:sldMkLst>
        <pc:spChg chg="del mod">
          <ac:chgData name="Clark, Connie" userId="73351e60-ad32-4085-a232-1d9f9b189479" providerId="ADAL" clId="{67E60BAE-C65D-4127-AFFB-2197F0786EB1}" dt="2021-01-13T20:13:15.496" v="1309" actId="478"/>
          <ac:spMkLst>
            <pc:docMk/>
            <pc:sldMk cId="436368184" sldId="1311"/>
            <ac:spMk id="2" creationId="{2E83B35C-B5CE-4156-A135-788CF834BC5E}"/>
          </ac:spMkLst>
        </pc:spChg>
        <pc:spChg chg="add mod">
          <ac:chgData name="Clark, Connie" userId="73351e60-ad32-4085-a232-1d9f9b189479" providerId="ADAL" clId="{67E60BAE-C65D-4127-AFFB-2197F0786EB1}" dt="2021-01-14T13:39:49.281" v="2856" actId="2"/>
          <ac:spMkLst>
            <pc:docMk/>
            <pc:sldMk cId="436368184" sldId="1311"/>
            <ac:spMk id="6" creationId="{EBAE2549-E87D-458E-AD24-29A079F73922}"/>
          </ac:spMkLst>
        </pc:spChg>
        <pc:spChg chg="mod">
          <ac:chgData name="Clark, Connie" userId="73351e60-ad32-4085-a232-1d9f9b189479" providerId="ADAL" clId="{67E60BAE-C65D-4127-AFFB-2197F0786EB1}" dt="2021-01-14T13:39:26.658" v="2849" actId="2"/>
          <ac:spMkLst>
            <pc:docMk/>
            <pc:sldMk cId="436368184" sldId="1311"/>
            <ac:spMk id="11" creationId="{FC7AA823-3DC4-424A-9B71-69E540E5BDA4}"/>
          </ac:spMkLst>
        </pc:spChg>
        <pc:spChg chg="add mod">
          <ac:chgData name="Clark, Connie" userId="73351e60-ad32-4085-a232-1d9f9b189479" providerId="ADAL" clId="{67E60BAE-C65D-4127-AFFB-2197F0786EB1}" dt="2021-01-14T13:39:46.694" v="2855" actId="2"/>
          <ac:spMkLst>
            <pc:docMk/>
            <pc:sldMk cId="436368184" sldId="1311"/>
            <ac:spMk id="13" creationId="{8D490154-5005-45AC-B690-E42A845CAD31}"/>
          </ac:spMkLst>
        </pc:spChg>
        <pc:spChg chg="add mod">
          <ac:chgData name="Clark, Connie" userId="73351e60-ad32-4085-a232-1d9f9b189479" providerId="ADAL" clId="{67E60BAE-C65D-4127-AFFB-2197F0786EB1}" dt="2021-01-14T12:16:16.265" v="1807" actId="1036"/>
          <ac:spMkLst>
            <pc:docMk/>
            <pc:sldMk cId="436368184" sldId="1311"/>
            <ac:spMk id="14" creationId="{DDD5A10B-5FFA-4031-A44D-03C5256F67A5}"/>
          </ac:spMkLst>
        </pc:spChg>
        <pc:spChg chg="mod">
          <ac:chgData name="Clark, Connie" userId="73351e60-ad32-4085-a232-1d9f9b189479" providerId="ADAL" clId="{67E60BAE-C65D-4127-AFFB-2197F0786EB1}" dt="2021-01-13T20:26:42.208" v="1548" actId="14100"/>
          <ac:spMkLst>
            <pc:docMk/>
            <pc:sldMk cId="436368184" sldId="1311"/>
            <ac:spMk id="56" creationId="{CBC8BE3E-8BD1-4312-B65E-881F16E9F23A}"/>
          </ac:spMkLst>
        </pc:spChg>
        <pc:spChg chg="del mod">
          <ac:chgData name="Clark, Connie" userId="73351e60-ad32-4085-a232-1d9f9b189479" providerId="ADAL" clId="{67E60BAE-C65D-4127-AFFB-2197F0786EB1}" dt="2021-01-13T20:13:09.606" v="1308" actId="478"/>
          <ac:spMkLst>
            <pc:docMk/>
            <pc:sldMk cId="436368184" sldId="1311"/>
            <ac:spMk id="58" creationId="{0ACC091A-39B8-4D61-AB96-FCF0A091FE3C}"/>
          </ac:spMkLst>
        </pc:spChg>
        <pc:graphicFrameChg chg="mod">
          <ac:chgData name="Clark, Connie" userId="73351e60-ad32-4085-a232-1d9f9b189479" providerId="ADAL" clId="{67E60BAE-C65D-4127-AFFB-2197F0786EB1}" dt="2021-01-14T13:39:41.391" v="2853" actId="2"/>
          <ac:graphicFrameMkLst>
            <pc:docMk/>
            <pc:sldMk cId="436368184" sldId="1311"/>
            <ac:graphicFrameMk id="27" creationId="{BC818062-D604-4F73-A09A-A39DEF9098F3}"/>
          </ac:graphicFrameMkLst>
        </pc:graphicFrameChg>
      </pc:sldChg>
      <pc:sldChg chg="modSp add del">
        <pc:chgData name="Clark, Connie" userId="73351e60-ad32-4085-a232-1d9f9b189479" providerId="ADAL" clId="{67E60BAE-C65D-4127-AFFB-2197F0786EB1}" dt="2021-01-14T13:58:03.451" v="2914" actId="20577"/>
        <pc:sldMkLst>
          <pc:docMk/>
          <pc:sldMk cId="1165601348" sldId="1312"/>
        </pc:sldMkLst>
        <pc:spChg chg="mod">
          <ac:chgData name="Clark, Connie" userId="73351e60-ad32-4085-a232-1d9f9b189479" providerId="ADAL" clId="{67E60BAE-C65D-4127-AFFB-2197F0786EB1}" dt="2021-01-12T14:50:00.413" v="893" actId="1035"/>
          <ac:spMkLst>
            <pc:docMk/>
            <pc:sldMk cId="1165601348" sldId="1312"/>
            <ac:spMk id="28" creationId="{99972197-783C-4CAD-B871-389835DD249F}"/>
          </ac:spMkLst>
        </pc:spChg>
        <pc:spChg chg="mod">
          <ac:chgData name="Clark, Connie" userId="73351e60-ad32-4085-a232-1d9f9b189479" providerId="ADAL" clId="{67E60BAE-C65D-4127-AFFB-2197F0786EB1}" dt="2021-01-14T13:35:36.697" v="2825" actId="313"/>
          <ac:spMkLst>
            <pc:docMk/>
            <pc:sldMk cId="1165601348" sldId="1312"/>
            <ac:spMk id="30" creationId="{A3D18DCB-9A94-4653-9779-3B76911D54F0}"/>
          </ac:spMkLst>
        </pc:spChg>
        <pc:spChg chg="mod">
          <ac:chgData name="Clark, Connie" userId="73351e60-ad32-4085-a232-1d9f9b189479" providerId="ADAL" clId="{67E60BAE-C65D-4127-AFFB-2197F0786EB1}" dt="2021-01-14T13:35:49.313" v="2829" actId="313"/>
          <ac:spMkLst>
            <pc:docMk/>
            <pc:sldMk cId="1165601348" sldId="1312"/>
            <ac:spMk id="31" creationId="{0CF30BE2-27BB-435B-BE69-2BAED9A4BA60}"/>
          </ac:spMkLst>
        </pc:spChg>
        <pc:spChg chg="mod">
          <ac:chgData name="Clark, Connie" userId="73351e60-ad32-4085-a232-1d9f9b189479" providerId="ADAL" clId="{67E60BAE-C65D-4127-AFFB-2197F0786EB1}" dt="2021-01-12T14:50:00.413" v="893" actId="1035"/>
          <ac:spMkLst>
            <pc:docMk/>
            <pc:sldMk cId="1165601348" sldId="1312"/>
            <ac:spMk id="36" creationId="{19DA6437-F0CE-43E6-9769-591F79532F5A}"/>
          </ac:spMkLst>
        </pc:spChg>
        <pc:spChg chg="mod">
          <ac:chgData name="Clark, Connie" userId="73351e60-ad32-4085-a232-1d9f9b189479" providerId="ADAL" clId="{67E60BAE-C65D-4127-AFFB-2197F0786EB1}" dt="2021-01-12T14:50:00.413" v="893" actId="1035"/>
          <ac:spMkLst>
            <pc:docMk/>
            <pc:sldMk cId="1165601348" sldId="1312"/>
            <ac:spMk id="39" creationId="{C9E6C25A-7007-42E8-BFA7-9E8173EF2D8A}"/>
          </ac:spMkLst>
        </pc:spChg>
        <pc:spChg chg="mod">
          <ac:chgData name="Clark, Connie" userId="73351e60-ad32-4085-a232-1d9f9b189479" providerId="ADAL" clId="{67E60BAE-C65D-4127-AFFB-2197F0786EB1}" dt="2021-01-14T12:07:51.918" v="1707" actId="1076"/>
          <ac:spMkLst>
            <pc:docMk/>
            <pc:sldMk cId="1165601348" sldId="1312"/>
            <ac:spMk id="46" creationId="{F2501CB0-9F21-4D3C-9863-D72253B81AC4}"/>
          </ac:spMkLst>
        </pc:spChg>
        <pc:spChg chg="mod">
          <ac:chgData name="Clark, Connie" userId="73351e60-ad32-4085-a232-1d9f9b189479" providerId="ADAL" clId="{67E60BAE-C65D-4127-AFFB-2197F0786EB1}" dt="2021-01-14T13:58:03.451" v="2914" actId="20577"/>
          <ac:spMkLst>
            <pc:docMk/>
            <pc:sldMk cId="1165601348" sldId="1312"/>
            <ac:spMk id="52" creationId="{651E2A67-07C0-4591-86F1-D731C91D2E1E}"/>
          </ac:spMkLst>
        </pc:spChg>
        <pc:spChg chg="mod">
          <ac:chgData name="Clark, Connie" userId="73351e60-ad32-4085-a232-1d9f9b189479" providerId="ADAL" clId="{67E60BAE-C65D-4127-AFFB-2197F0786EB1}" dt="2021-01-14T13:39:21.703" v="2846" actId="2"/>
          <ac:spMkLst>
            <pc:docMk/>
            <pc:sldMk cId="1165601348" sldId="1312"/>
            <ac:spMk id="56" creationId="{200008B9-2435-4FE1-AE38-47B5D3D7C5A5}"/>
          </ac:spMkLst>
        </pc:spChg>
        <pc:grpChg chg="mod">
          <ac:chgData name="Clark, Connie" userId="73351e60-ad32-4085-a232-1d9f9b189479" providerId="ADAL" clId="{67E60BAE-C65D-4127-AFFB-2197F0786EB1}" dt="2021-01-14T12:07:46.303" v="1706" actId="14100"/>
          <ac:grpSpMkLst>
            <pc:docMk/>
            <pc:sldMk cId="1165601348" sldId="1312"/>
            <ac:grpSpMk id="14" creationId="{20319FE9-7FB6-4045-B0FE-CEF290BCC834}"/>
          </ac:grpSpMkLst>
        </pc:grpChg>
        <pc:grpChg chg="mod">
          <ac:chgData name="Clark, Connie" userId="73351e60-ad32-4085-a232-1d9f9b189479" providerId="ADAL" clId="{67E60BAE-C65D-4127-AFFB-2197F0786EB1}" dt="2021-01-12T14:50:00.413" v="893" actId="1035"/>
          <ac:grpSpMkLst>
            <pc:docMk/>
            <pc:sldMk cId="1165601348" sldId="1312"/>
            <ac:grpSpMk id="33" creationId="{7387D647-7C59-4179-AD95-D85879A6E7A7}"/>
          </ac:grpSpMkLst>
        </pc:grpChg>
        <pc:grpChg chg="mod">
          <ac:chgData name="Clark, Connie" userId="73351e60-ad32-4085-a232-1d9f9b189479" providerId="ADAL" clId="{67E60BAE-C65D-4127-AFFB-2197F0786EB1}" dt="2021-01-12T14:50:32.618" v="914" actId="1036"/>
          <ac:grpSpMkLst>
            <pc:docMk/>
            <pc:sldMk cId="1165601348" sldId="1312"/>
            <ac:grpSpMk id="40" creationId="{562078EC-99E8-442B-963B-21FE11E58170}"/>
          </ac:grpSpMkLst>
        </pc:grpChg>
        <pc:grpChg chg="mod">
          <ac:chgData name="Clark, Connie" userId="73351e60-ad32-4085-a232-1d9f9b189479" providerId="ADAL" clId="{67E60BAE-C65D-4127-AFFB-2197F0786EB1}" dt="2021-01-12T14:50:00.413" v="893" actId="1035"/>
          <ac:grpSpMkLst>
            <pc:docMk/>
            <pc:sldMk cId="1165601348" sldId="1312"/>
            <ac:grpSpMk id="43" creationId="{6CC48AF8-95C3-4257-81D2-258CA719E931}"/>
          </ac:grpSpMkLst>
        </pc:grpChg>
        <pc:picChg chg="mod">
          <ac:chgData name="Clark, Connie" userId="73351e60-ad32-4085-a232-1d9f9b189479" providerId="ADAL" clId="{67E60BAE-C65D-4127-AFFB-2197F0786EB1}" dt="2021-01-14T12:04:49.827" v="1619" actId="1076"/>
          <ac:picMkLst>
            <pc:docMk/>
            <pc:sldMk cId="1165601348" sldId="1312"/>
            <ac:picMk id="53" creationId="{B21ED301-A277-4C1F-80B6-6231FBA4CE16}"/>
          </ac:picMkLst>
        </pc:picChg>
      </pc:sldChg>
      <pc:sldChg chg="addSp delSp modSp mod ord">
        <pc:chgData name="Clark, Connie" userId="73351e60-ad32-4085-a232-1d9f9b189479" providerId="ADAL" clId="{67E60BAE-C65D-4127-AFFB-2197F0786EB1}" dt="2021-02-08T23:36:28.547" v="4090"/>
        <pc:sldMkLst>
          <pc:docMk/>
          <pc:sldMk cId="3885550070" sldId="1317"/>
        </pc:sldMkLst>
        <pc:spChg chg="mod">
          <ac:chgData name="Clark, Connie" userId="73351e60-ad32-4085-a232-1d9f9b189479" providerId="ADAL" clId="{67E60BAE-C65D-4127-AFFB-2197F0786EB1}" dt="2021-02-08T23:36:28.547" v="4090"/>
          <ac:spMkLst>
            <pc:docMk/>
            <pc:sldMk cId="3885550070" sldId="1317"/>
            <ac:spMk id="2" creationId="{2E83B35C-B5CE-4156-A135-788CF834BC5E}"/>
          </ac:spMkLst>
        </pc:spChg>
        <pc:spChg chg="add del mod">
          <ac:chgData name="Clark, Connie" userId="73351e60-ad32-4085-a232-1d9f9b189479" providerId="ADAL" clId="{67E60BAE-C65D-4127-AFFB-2197F0786EB1}" dt="2021-01-13T18:44:32.084" v="1113"/>
          <ac:spMkLst>
            <pc:docMk/>
            <pc:sldMk cId="3885550070" sldId="1317"/>
            <ac:spMk id="6" creationId="{57A4FC85-32CB-4009-8A27-66474F47D9D6}"/>
          </ac:spMkLst>
        </pc:spChg>
        <pc:spChg chg="add del mod">
          <ac:chgData name="Clark, Connie" userId="73351e60-ad32-4085-a232-1d9f9b189479" providerId="ADAL" clId="{67E60BAE-C65D-4127-AFFB-2197F0786EB1}" dt="2021-01-14T12:49:33.410" v="2354"/>
          <ac:spMkLst>
            <pc:docMk/>
            <pc:sldMk cId="3885550070" sldId="1317"/>
            <ac:spMk id="6" creationId="{B699A77B-E857-4DA0-A448-7D518D9A5804}"/>
          </ac:spMkLst>
        </pc:spChg>
        <pc:spChg chg="add del mod">
          <ac:chgData name="Clark, Connie" userId="73351e60-ad32-4085-a232-1d9f9b189479" providerId="ADAL" clId="{67E60BAE-C65D-4127-AFFB-2197F0786EB1}" dt="2021-02-08T23:34:53.542" v="3963" actId="478"/>
          <ac:spMkLst>
            <pc:docMk/>
            <pc:sldMk cId="3885550070" sldId="1317"/>
            <ac:spMk id="7" creationId="{56DE9A9B-70F3-4379-874C-789A3139BDD6}"/>
          </ac:spMkLst>
        </pc:spChg>
        <pc:spChg chg="mod">
          <ac:chgData name="Clark, Connie" userId="73351e60-ad32-4085-a232-1d9f9b189479" providerId="ADAL" clId="{67E60BAE-C65D-4127-AFFB-2197F0786EB1}" dt="2021-01-14T12:53:17.894" v="2412" actId="1035"/>
          <ac:spMkLst>
            <pc:docMk/>
            <pc:sldMk cId="3885550070" sldId="1317"/>
            <ac:spMk id="11" creationId="{FC7AA823-3DC4-424A-9B71-69E540E5BDA4}"/>
          </ac:spMkLst>
        </pc:spChg>
        <pc:spChg chg="add del mod">
          <ac:chgData name="Clark, Connie" userId="73351e60-ad32-4085-a232-1d9f9b189479" providerId="ADAL" clId="{67E60BAE-C65D-4127-AFFB-2197F0786EB1}" dt="2021-01-14T12:47:48.333" v="2310" actId="478"/>
          <ac:spMkLst>
            <pc:docMk/>
            <pc:sldMk cId="3885550070" sldId="1317"/>
            <ac:spMk id="13" creationId="{53BB7056-6FDE-45A4-BE05-8B2114DF9E68}"/>
          </ac:spMkLst>
        </pc:spChg>
        <pc:spChg chg="mod">
          <ac:chgData name="Clark, Connie" userId="73351e60-ad32-4085-a232-1d9f9b189479" providerId="ADAL" clId="{67E60BAE-C65D-4127-AFFB-2197F0786EB1}" dt="2021-02-08T23:35:09.211" v="3993" actId="1036"/>
          <ac:spMkLst>
            <pc:docMk/>
            <pc:sldMk cId="3885550070" sldId="1317"/>
            <ac:spMk id="14" creationId="{32EE2CB1-CC9F-413C-9D38-EAFA9C1D320A}"/>
          </ac:spMkLst>
        </pc:spChg>
        <pc:spChg chg="mod">
          <ac:chgData name="Clark, Connie" userId="73351e60-ad32-4085-a232-1d9f9b189479" providerId="ADAL" clId="{67E60BAE-C65D-4127-AFFB-2197F0786EB1}" dt="2021-02-08T23:35:09.211" v="3993" actId="1036"/>
          <ac:spMkLst>
            <pc:docMk/>
            <pc:sldMk cId="3885550070" sldId="1317"/>
            <ac:spMk id="15" creationId="{C87A8292-A61E-4244-AC81-D1B86D6AFEBD}"/>
          </ac:spMkLst>
        </pc:spChg>
        <pc:spChg chg="mod">
          <ac:chgData name="Clark, Connie" userId="73351e60-ad32-4085-a232-1d9f9b189479" providerId="ADAL" clId="{67E60BAE-C65D-4127-AFFB-2197F0786EB1}" dt="2021-02-08T23:35:09.211" v="3993" actId="1036"/>
          <ac:spMkLst>
            <pc:docMk/>
            <pc:sldMk cId="3885550070" sldId="1317"/>
            <ac:spMk id="16" creationId="{86F955DC-DFD7-49EB-87E9-A8B5B72F5B49}"/>
          </ac:spMkLst>
        </pc:spChg>
        <pc:spChg chg="mod">
          <ac:chgData name="Clark, Connie" userId="73351e60-ad32-4085-a232-1d9f9b189479" providerId="ADAL" clId="{67E60BAE-C65D-4127-AFFB-2197F0786EB1}" dt="2021-02-08T23:35:09.211" v="3993" actId="1036"/>
          <ac:spMkLst>
            <pc:docMk/>
            <pc:sldMk cId="3885550070" sldId="1317"/>
            <ac:spMk id="17" creationId="{A796C479-0AA7-4106-8759-1BFA418D242D}"/>
          </ac:spMkLst>
        </pc:spChg>
        <pc:spChg chg="add del mod">
          <ac:chgData name="Clark, Connie" userId="73351e60-ad32-4085-a232-1d9f9b189479" providerId="ADAL" clId="{67E60BAE-C65D-4127-AFFB-2197F0786EB1}" dt="2021-01-14T12:55:20.656" v="2516"/>
          <ac:spMkLst>
            <pc:docMk/>
            <pc:sldMk cId="3885550070" sldId="1317"/>
            <ac:spMk id="18" creationId="{068DE4E0-0242-4B9B-9578-98827AB4791D}"/>
          </ac:spMkLst>
        </pc:spChg>
        <pc:spChg chg="mod">
          <ac:chgData name="Clark, Connie" userId="73351e60-ad32-4085-a232-1d9f9b189479" providerId="ADAL" clId="{67E60BAE-C65D-4127-AFFB-2197F0786EB1}" dt="2021-01-14T12:51:07.682" v="2372" actId="255"/>
          <ac:spMkLst>
            <pc:docMk/>
            <pc:sldMk cId="3885550070" sldId="1317"/>
            <ac:spMk id="21" creationId="{3700DD15-BF6E-4D71-AD3F-DD85EA81489A}"/>
          </ac:spMkLst>
        </pc:spChg>
        <pc:spChg chg="add del mod">
          <ac:chgData name="Clark, Connie" userId="73351e60-ad32-4085-a232-1d9f9b189479" providerId="ADAL" clId="{67E60BAE-C65D-4127-AFFB-2197F0786EB1}" dt="2021-02-08T23:35:03.065" v="3965" actId="478"/>
          <ac:spMkLst>
            <pc:docMk/>
            <pc:sldMk cId="3885550070" sldId="1317"/>
            <ac:spMk id="22" creationId="{131F22FF-0EAA-41B6-BDA9-ABD83834289C}"/>
          </ac:spMkLst>
        </pc:spChg>
        <pc:spChg chg="add del mod">
          <ac:chgData name="Clark, Connie" userId="73351e60-ad32-4085-a232-1d9f9b189479" providerId="ADAL" clId="{67E60BAE-C65D-4127-AFFB-2197F0786EB1}" dt="2021-02-08T23:34:59.142" v="3964" actId="478"/>
          <ac:spMkLst>
            <pc:docMk/>
            <pc:sldMk cId="3885550070" sldId="1317"/>
            <ac:spMk id="23" creationId="{756088E6-A455-4B73-9284-C9235C294555}"/>
          </ac:spMkLst>
        </pc:spChg>
        <pc:spChg chg="mod">
          <ac:chgData name="Clark, Connie" userId="73351e60-ad32-4085-a232-1d9f9b189479" providerId="ADAL" clId="{67E60BAE-C65D-4127-AFFB-2197F0786EB1}" dt="2021-02-08T23:35:17.431" v="4016" actId="1036"/>
          <ac:spMkLst>
            <pc:docMk/>
            <pc:sldMk cId="3885550070" sldId="1317"/>
            <ac:spMk id="58" creationId="{0ACC091A-39B8-4D61-AB96-FCF0A091FE3C}"/>
          </ac:spMkLst>
        </pc:spChg>
        <pc:grpChg chg="add del mod">
          <ac:chgData name="Clark, Connie" userId="73351e60-ad32-4085-a232-1d9f9b189479" providerId="ADAL" clId="{67E60BAE-C65D-4127-AFFB-2197F0786EB1}" dt="2021-02-08T23:35:03.065" v="3965" actId="478"/>
          <ac:grpSpMkLst>
            <pc:docMk/>
            <pc:sldMk cId="3885550070" sldId="1317"/>
            <ac:grpSpMk id="19" creationId="{F08D1C1E-ADEF-4C16-8660-EC30860CDA8A}"/>
          </ac:grpSpMkLst>
        </pc:grpChg>
      </pc:sldChg>
      <pc:sldChg chg="del">
        <pc:chgData name="Clark, Connie" userId="73351e60-ad32-4085-a232-1d9f9b189479" providerId="ADAL" clId="{67E60BAE-C65D-4127-AFFB-2197F0786EB1}" dt="2021-01-14T13:28:12.926" v="2797" actId="2696"/>
        <pc:sldMkLst>
          <pc:docMk/>
          <pc:sldMk cId="1451217535" sldId="1318"/>
        </pc:sldMkLst>
      </pc:sldChg>
      <pc:sldChg chg="del">
        <pc:chgData name="Clark, Connie" userId="73351e60-ad32-4085-a232-1d9f9b189479" providerId="ADAL" clId="{67E60BAE-C65D-4127-AFFB-2197F0786EB1}" dt="2021-01-14T13:28:05.515" v="2796" actId="2696"/>
        <pc:sldMkLst>
          <pc:docMk/>
          <pc:sldMk cId="2748301711" sldId="1319"/>
        </pc:sldMkLst>
      </pc:sldChg>
      <pc:sldChg chg="addSp delSp modSp mod ord">
        <pc:chgData name="Clark, Connie" userId="73351e60-ad32-4085-a232-1d9f9b189479" providerId="ADAL" clId="{67E60BAE-C65D-4127-AFFB-2197F0786EB1}" dt="2021-02-08T23:38:12.011" v="4157" actId="20577"/>
        <pc:sldMkLst>
          <pc:docMk/>
          <pc:sldMk cId="1522693844" sldId="1320"/>
        </pc:sldMkLst>
        <pc:spChg chg="add mod">
          <ac:chgData name="Clark, Connie" userId="73351e60-ad32-4085-a232-1d9f9b189479" providerId="ADAL" clId="{67E60BAE-C65D-4127-AFFB-2197F0786EB1}" dt="2021-01-14T14:25:19.059" v="3300" actId="1037"/>
          <ac:spMkLst>
            <pc:docMk/>
            <pc:sldMk cId="1522693844" sldId="1320"/>
            <ac:spMk id="35" creationId="{0DB33759-A8BB-4FBB-B93D-7CC39139FAEE}"/>
          </ac:spMkLst>
        </pc:spChg>
        <pc:spChg chg="add mod">
          <ac:chgData name="Clark, Connie" userId="73351e60-ad32-4085-a232-1d9f9b189479" providerId="ADAL" clId="{67E60BAE-C65D-4127-AFFB-2197F0786EB1}" dt="2021-01-20T14:43:14.426" v="3451" actId="1076"/>
          <ac:spMkLst>
            <pc:docMk/>
            <pc:sldMk cId="1522693844" sldId="1320"/>
            <ac:spMk id="36" creationId="{2582D1C2-CF15-4116-8921-5F5996CAE2B4}"/>
          </ac:spMkLst>
        </pc:spChg>
        <pc:spChg chg="add mod">
          <ac:chgData name="Clark, Connie" userId="73351e60-ad32-4085-a232-1d9f9b189479" providerId="ADAL" clId="{67E60BAE-C65D-4127-AFFB-2197F0786EB1}" dt="2021-01-14T14:23:13.991" v="3240" actId="1037"/>
          <ac:spMkLst>
            <pc:docMk/>
            <pc:sldMk cId="1522693844" sldId="1320"/>
            <ac:spMk id="37" creationId="{6BA7B740-87A0-435B-8B20-A0F36883D746}"/>
          </ac:spMkLst>
        </pc:spChg>
        <pc:spChg chg="add mod">
          <ac:chgData name="Clark, Connie" userId="73351e60-ad32-4085-a232-1d9f9b189479" providerId="ADAL" clId="{67E60BAE-C65D-4127-AFFB-2197F0786EB1}" dt="2021-01-14T14:23:13.991" v="3240" actId="1037"/>
          <ac:spMkLst>
            <pc:docMk/>
            <pc:sldMk cId="1522693844" sldId="1320"/>
            <ac:spMk id="39" creationId="{2E0D104A-A2D3-4C09-A9FE-586B53AC7085}"/>
          </ac:spMkLst>
        </pc:spChg>
        <pc:spChg chg="add mod">
          <ac:chgData name="Clark, Connie" userId="73351e60-ad32-4085-a232-1d9f9b189479" providerId="ADAL" clId="{67E60BAE-C65D-4127-AFFB-2197F0786EB1}" dt="2021-01-14T14:23:13.991" v="3240" actId="1037"/>
          <ac:spMkLst>
            <pc:docMk/>
            <pc:sldMk cId="1522693844" sldId="1320"/>
            <ac:spMk id="40" creationId="{296B90E0-7A5E-45B1-8F99-7BDCDDC17135}"/>
          </ac:spMkLst>
        </pc:spChg>
        <pc:spChg chg="mod">
          <ac:chgData name="Clark, Connie" userId="73351e60-ad32-4085-a232-1d9f9b189479" providerId="ADAL" clId="{67E60BAE-C65D-4127-AFFB-2197F0786EB1}" dt="2021-01-21T03:15:31.184" v="3657" actId="20577"/>
          <ac:spMkLst>
            <pc:docMk/>
            <pc:sldMk cId="1522693844" sldId="1320"/>
            <ac:spMk id="43" creationId="{6E94E3D6-1C39-4B85-B9C3-B3A6B28F63C2}"/>
          </ac:spMkLst>
        </pc:spChg>
        <pc:spChg chg="add mod">
          <ac:chgData name="Clark, Connie" userId="73351e60-ad32-4085-a232-1d9f9b189479" providerId="ADAL" clId="{67E60BAE-C65D-4127-AFFB-2197F0786EB1}" dt="2021-01-14T14:21:35.524" v="3162" actId="207"/>
          <ac:spMkLst>
            <pc:docMk/>
            <pc:sldMk cId="1522693844" sldId="1320"/>
            <ac:spMk id="44" creationId="{1ECD1D01-FADE-4300-8D84-2E6B1FDABB02}"/>
          </ac:spMkLst>
        </pc:spChg>
        <pc:spChg chg="add mod">
          <ac:chgData name="Clark, Connie" userId="73351e60-ad32-4085-a232-1d9f9b189479" providerId="ADAL" clId="{67E60BAE-C65D-4127-AFFB-2197F0786EB1}" dt="2021-01-14T14:25:19.059" v="3300" actId="1037"/>
          <ac:spMkLst>
            <pc:docMk/>
            <pc:sldMk cId="1522693844" sldId="1320"/>
            <ac:spMk id="45" creationId="{0A2DCF92-CB70-420D-8601-D88F8BF0F9CF}"/>
          </ac:spMkLst>
        </pc:spChg>
        <pc:spChg chg="add mod">
          <ac:chgData name="Clark, Connie" userId="73351e60-ad32-4085-a232-1d9f9b189479" providerId="ADAL" clId="{67E60BAE-C65D-4127-AFFB-2197F0786EB1}" dt="2021-02-08T23:37:53.259" v="4156" actId="1035"/>
          <ac:spMkLst>
            <pc:docMk/>
            <pc:sldMk cId="1522693844" sldId="1320"/>
            <ac:spMk id="52" creationId="{3AC9E3AA-D399-44F2-9DBF-BA12C830C879}"/>
          </ac:spMkLst>
        </pc:spChg>
        <pc:spChg chg="mod">
          <ac:chgData name="Clark, Connie" userId="73351e60-ad32-4085-a232-1d9f9b189479" providerId="ADAL" clId="{67E60BAE-C65D-4127-AFFB-2197F0786EB1}" dt="2021-01-21T03:19:48.860" v="3826" actId="1036"/>
          <ac:spMkLst>
            <pc:docMk/>
            <pc:sldMk cId="1522693844" sldId="1320"/>
            <ac:spMk id="53" creationId="{0F2783EA-5FCB-4074-8E8C-08800DCF0B18}"/>
          </ac:spMkLst>
        </pc:spChg>
        <pc:spChg chg="add mod">
          <ac:chgData name="Clark, Connie" userId="73351e60-ad32-4085-a232-1d9f9b189479" providerId="ADAL" clId="{67E60BAE-C65D-4127-AFFB-2197F0786EB1}" dt="2021-01-14T14:25:19.059" v="3300" actId="1037"/>
          <ac:spMkLst>
            <pc:docMk/>
            <pc:sldMk cId="1522693844" sldId="1320"/>
            <ac:spMk id="54" creationId="{700B4122-BE89-4773-B9B4-7449ED6A3895}"/>
          </ac:spMkLst>
        </pc:spChg>
        <pc:spChg chg="mod">
          <ac:chgData name="Clark, Connie" userId="73351e60-ad32-4085-a232-1d9f9b189479" providerId="ADAL" clId="{67E60BAE-C65D-4127-AFFB-2197F0786EB1}" dt="2021-01-21T03:19:48.860" v="3826" actId="1036"/>
          <ac:spMkLst>
            <pc:docMk/>
            <pc:sldMk cId="1522693844" sldId="1320"/>
            <ac:spMk id="55" creationId="{215312B3-1C6A-4FFF-9A10-27464B021A68}"/>
          </ac:spMkLst>
        </pc:spChg>
        <pc:spChg chg="add mod">
          <ac:chgData name="Clark, Connie" userId="73351e60-ad32-4085-a232-1d9f9b189479" providerId="ADAL" clId="{67E60BAE-C65D-4127-AFFB-2197F0786EB1}" dt="2021-01-21T03:19:48.860" v="3826" actId="1036"/>
          <ac:spMkLst>
            <pc:docMk/>
            <pc:sldMk cId="1522693844" sldId="1320"/>
            <ac:spMk id="56" creationId="{1B8A568E-D9CD-4E5C-90F1-DB94EF93708F}"/>
          </ac:spMkLst>
        </pc:spChg>
        <pc:spChg chg="add mod">
          <ac:chgData name="Clark, Connie" userId="73351e60-ad32-4085-a232-1d9f9b189479" providerId="ADAL" clId="{67E60BAE-C65D-4127-AFFB-2197F0786EB1}" dt="2021-01-14T14:26:04.398" v="3308" actId="20577"/>
          <ac:spMkLst>
            <pc:docMk/>
            <pc:sldMk cId="1522693844" sldId="1320"/>
            <ac:spMk id="58" creationId="{DDD74C43-3736-4D03-8141-CBE40246AEA3}"/>
          </ac:spMkLst>
        </pc:spChg>
        <pc:spChg chg="add mod">
          <ac:chgData name="Clark, Connie" userId="73351e60-ad32-4085-a232-1d9f9b189479" providerId="ADAL" clId="{67E60BAE-C65D-4127-AFFB-2197F0786EB1}" dt="2021-02-08T23:38:12.011" v="4157" actId="20577"/>
          <ac:spMkLst>
            <pc:docMk/>
            <pc:sldMk cId="1522693844" sldId="1320"/>
            <ac:spMk id="59" creationId="{DC388082-565D-4C70-8F5E-03455E4E4708}"/>
          </ac:spMkLst>
        </pc:spChg>
        <pc:spChg chg="mod">
          <ac:chgData name="Clark, Connie" userId="73351e60-ad32-4085-a232-1d9f9b189479" providerId="ADAL" clId="{67E60BAE-C65D-4127-AFFB-2197F0786EB1}" dt="2021-01-21T03:19:48.860" v="3826" actId="1036"/>
          <ac:spMkLst>
            <pc:docMk/>
            <pc:sldMk cId="1522693844" sldId="1320"/>
            <ac:spMk id="71" creationId="{FD965919-3664-4E78-AD19-B66DB7B15778}"/>
          </ac:spMkLst>
        </pc:spChg>
        <pc:spChg chg="mod">
          <ac:chgData name="Clark, Connie" userId="73351e60-ad32-4085-a232-1d9f9b189479" providerId="ADAL" clId="{67E60BAE-C65D-4127-AFFB-2197F0786EB1}" dt="2021-01-20T14:43:04.728" v="3450" actId="1076"/>
          <ac:spMkLst>
            <pc:docMk/>
            <pc:sldMk cId="1522693844" sldId="1320"/>
            <ac:spMk id="72" creationId="{845D5D34-7A2F-463F-A983-810EE4B24158}"/>
          </ac:spMkLst>
        </pc:spChg>
        <pc:spChg chg="mod">
          <ac:chgData name="Clark, Connie" userId="73351e60-ad32-4085-a232-1d9f9b189479" providerId="ADAL" clId="{67E60BAE-C65D-4127-AFFB-2197F0786EB1}" dt="2021-01-14T14:23:13.991" v="3240" actId="1037"/>
          <ac:spMkLst>
            <pc:docMk/>
            <pc:sldMk cId="1522693844" sldId="1320"/>
            <ac:spMk id="75" creationId="{082F5F26-28C7-4B21-B618-F61254261FB4}"/>
          </ac:spMkLst>
        </pc:spChg>
        <pc:spChg chg="mod">
          <ac:chgData name="Clark, Connie" userId="73351e60-ad32-4085-a232-1d9f9b189479" providerId="ADAL" clId="{67E60BAE-C65D-4127-AFFB-2197F0786EB1}" dt="2021-02-08T23:37:36.730" v="4127" actId="1037"/>
          <ac:spMkLst>
            <pc:docMk/>
            <pc:sldMk cId="1522693844" sldId="1320"/>
            <ac:spMk id="79" creationId="{94C1F07B-1C49-4ADF-9495-143B06CEB283}"/>
          </ac:spMkLst>
        </pc:spChg>
        <pc:spChg chg="mod">
          <ac:chgData name="Clark, Connie" userId="73351e60-ad32-4085-a232-1d9f9b189479" providerId="ADAL" clId="{67E60BAE-C65D-4127-AFFB-2197F0786EB1}" dt="2021-01-21T03:19:48.860" v="3826" actId="1036"/>
          <ac:spMkLst>
            <pc:docMk/>
            <pc:sldMk cId="1522693844" sldId="1320"/>
            <ac:spMk id="80" creationId="{B0C05E2A-0527-43D4-9C30-FC4E2D2DD2B7}"/>
          </ac:spMkLst>
        </pc:spChg>
        <pc:spChg chg="del">
          <ac:chgData name="Clark, Connie" userId="73351e60-ad32-4085-a232-1d9f9b189479" providerId="ADAL" clId="{67E60BAE-C65D-4127-AFFB-2197F0786EB1}" dt="2021-01-14T13:27:37.411" v="2785" actId="478"/>
          <ac:spMkLst>
            <pc:docMk/>
            <pc:sldMk cId="1522693844" sldId="1320"/>
            <ac:spMk id="81" creationId="{CC55C0EC-ADD9-4198-AAC4-A6C6D2543C0A}"/>
          </ac:spMkLst>
        </pc:spChg>
        <pc:spChg chg="mod">
          <ac:chgData name="Clark, Connie" userId="73351e60-ad32-4085-a232-1d9f9b189479" providerId="ADAL" clId="{67E60BAE-C65D-4127-AFFB-2197F0786EB1}" dt="2021-01-21T03:19:48.860" v="3826" actId="1036"/>
          <ac:spMkLst>
            <pc:docMk/>
            <pc:sldMk cId="1522693844" sldId="1320"/>
            <ac:spMk id="82" creationId="{9556BC6E-382C-4540-A486-6EF997C34D89}"/>
          </ac:spMkLst>
        </pc:spChg>
        <pc:spChg chg="mod">
          <ac:chgData name="Clark, Connie" userId="73351e60-ad32-4085-a232-1d9f9b189479" providerId="ADAL" clId="{67E60BAE-C65D-4127-AFFB-2197F0786EB1}" dt="2021-01-21T03:19:48.860" v="3826" actId="1036"/>
          <ac:spMkLst>
            <pc:docMk/>
            <pc:sldMk cId="1522693844" sldId="1320"/>
            <ac:spMk id="83" creationId="{E3572FE6-3FCC-4119-B824-FE533D24EED1}"/>
          </ac:spMkLst>
        </pc:spChg>
        <pc:spChg chg="del mod">
          <ac:chgData name="Clark, Connie" userId="73351e60-ad32-4085-a232-1d9f9b189479" providerId="ADAL" clId="{67E60BAE-C65D-4127-AFFB-2197F0786EB1}" dt="2021-01-14T13:21:57.527" v="2565" actId="478"/>
          <ac:spMkLst>
            <pc:docMk/>
            <pc:sldMk cId="1522693844" sldId="1320"/>
            <ac:spMk id="84" creationId="{2156558F-EDCA-42B4-AFC4-0CF8D677F6FF}"/>
          </ac:spMkLst>
        </pc:spChg>
        <pc:spChg chg="del">
          <ac:chgData name="Clark, Connie" userId="73351e60-ad32-4085-a232-1d9f9b189479" providerId="ADAL" clId="{67E60BAE-C65D-4127-AFFB-2197F0786EB1}" dt="2021-01-14T13:22:11.900" v="2569" actId="478"/>
          <ac:spMkLst>
            <pc:docMk/>
            <pc:sldMk cId="1522693844" sldId="1320"/>
            <ac:spMk id="85" creationId="{A2735CE1-2885-4E3E-B36A-F127A94FA709}"/>
          </ac:spMkLst>
        </pc:spChg>
        <pc:spChg chg="del">
          <ac:chgData name="Clark, Connie" userId="73351e60-ad32-4085-a232-1d9f9b189479" providerId="ADAL" clId="{67E60BAE-C65D-4127-AFFB-2197F0786EB1}" dt="2021-01-14T13:27:39.461" v="2786" actId="478"/>
          <ac:spMkLst>
            <pc:docMk/>
            <pc:sldMk cId="1522693844" sldId="1320"/>
            <ac:spMk id="86" creationId="{EB0E7207-E4C5-40C9-9E29-DF2290FC0B03}"/>
          </ac:spMkLst>
        </pc:spChg>
        <pc:spChg chg="mod">
          <ac:chgData name="Clark, Connie" userId="73351e60-ad32-4085-a232-1d9f9b189479" providerId="ADAL" clId="{67E60BAE-C65D-4127-AFFB-2197F0786EB1}" dt="2021-02-08T23:37:36.730" v="4127" actId="1037"/>
          <ac:spMkLst>
            <pc:docMk/>
            <pc:sldMk cId="1522693844" sldId="1320"/>
            <ac:spMk id="87" creationId="{42F60FDC-08CD-48AB-AAD5-A23498BB4646}"/>
          </ac:spMkLst>
        </pc:spChg>
        <pc:spChg chg="mod">
          <ac:chgData name="Clark, Connie" userId="73351e60-ad32-4085-a232-1d9f9b189479" providerId="ADAL" clId="{67E60BAE-C65D-4127-AFFB-2197F0786EB1}" dt="2021-01-21T03:19:48.860" v="3826" actId="1036"/>
          <ac:spMkLst>
            <pc:docMk/>
            <pc:sldMk cId="1522693844" sldId="1320"/>
            <ac:spMk id="88" creationId="{73D83180-C7BE-4F56-A242-6FB22FD5AD37}"/>
          </ac:spMkLst>
        </pc:spChg>
        <pc:spChg chg="del">
          <ac:chgData name="Clark, Connie" userId="73351e60-ad32-4085-a232-1d9f9b189479" providerId="ADAL" clId="{67E60BAE-C65D-4127-AFFB-2197F0786EB1}" dt="2021-01-14T13:21:33.819" v="2562" actId="478"/>
          <ac:spMkLst>
            <pc:docMk/>
            <pc:sldMk cId="1522693844" sldId="1320"/>
            <ac:spMk id="89" creationId="{1DE1DC96-BF4B-4D14-A1E5-0CEE00D5FB45}"/>
          </ac:spMkLst>
        </pc:spChg>
        <pc:spChg chg="del">
          <ac:chgData name="Clark, Connie" userId="73351e60-ad32-4085-a232-1d9f9b189479" providerId="ADAL" clId="{67E60BAE-C65D-4127-AFFB-2197F0786EB1}" dt="2021-01-14T13:21:42.140" v="2563" actId="478"/>
          <ac:spMkLst>
            <pc:docMk/>
            <pc:sldMk cId="1522693844" sldId="1320"/>
            <ac:spMk id="90" creationId="{A525580C-5A52-4311-93F3-DFA90452B3B9}"/>
          </ac:spMkLst>
        </pc:spChg>
        <pc:spChg chg="del">
          <ac:chgData name="Clark, Connie" userId="73351e60-ad32-4085-a232-1d9f9b189479" providerId="ADAL" clId="{67E60BAE-C65D-4127-AFFB-2197F0786EB1}" dt="2021-01-14T13:22:10.301" v="2568" actId="478"/>
          <ac:spMkLst>
            <pc:docMk/>
            <pc:sldMk cId="1522693844" sldId="1320"/>
            <ac:spMk id="91" creationId="{9C99D4D5-1C10-4311-BE97-7E55CAE465C4}"/>
          </ac:spMkLst>
        </pc:spChg>
        <pc:spChg chg="mod">
          <ac:chgData name="Clark, Connie" userId="73351e60-ad32-4085-a232-1d9f9b189479" providerId="ADAL" clId="{67E60BAE-C65D-4127-AFFB-2197F0786EB1}" dt="2021-01-14T14:23:13.991" v="3240" actId="1037"/>
          <ac:spMkLst>
            <pc:docMk/>
            <pc:sldMk cId="1522693844" sldId="1320"/>
            <ac:spMk id="92" creationId="{DB8339BE-8C7B-493A-9B85-40E566B6F387}"/>
          </ac:spMkLst>
        </pc:spChg>
        <pc:picChg chg="add mod">
          <ac:chgData name="Clark, Connie" userId="73351e60-ad32-4085-a232-1d9f9b189479" providerId="ADAL" clId="{67E60BAE-C65D-4127-AFFB-2197F0786EB1}" dt="2021-01-14T14:25:19.059" v="3300" actId="1037"/>
          <ac:picMkLst>
            <pc:docMk/>
            <pc:sldMk cId="1522693844" sldId="1320"/>
            <ac:picMk id="34" creationId="{0029F035-5FE5-47E9-8003-735EF088E84D}"/>
          </ac:picMkLst>
        </pc:picChg>
        <pc:picChg chg="add mod">
          <ac:chgData name="Clark, Connie" userId="73351e60-ad32-4085-a232-1d9f9b189479" providerId="ADAL" clId="{67E60BAE-C65D-4127-AFFB-2197F0786EB1}" dt="2021-01-14T14:23:13.991" v="3240" actId="1037"/>
          <ac:picMkLst>
            <pc:docMk/>
            <pc:sldMk cId="1522693844" sldId="1320"/>
            <ac:picMk id="38" creationId="{B4ED4EFE-0F9A-4A65-8CCB-E6C835597CC3}"/>
          </ac:picMkLst>
        </pc:picChg>
        <pc:picChg chg="add mod">
          <ac:chgData name="Clark, Connie" userId="73351e60-ad32-4085-a232-1d9f9b189479" providerId="ADAL" clId="{67E60BAE-C65D-4127-AFFB-2197F0786EB1}" dt="2021-02-08T23:37:53.259" v="4156" actId="1035"/>
          <ac:picMkLst>
            <pc:docMk/>
            <pc:sldMk cId="1522693844" sldId="1320"/>
            <ac:picMk id="46" creationId="{9B0DB254-3F68-491A-A6BD-9D1EFCFEF5AF}"/>
          </ac:picMkLst>
        </pc:picChg>
        <pc:picChg chg="mod">
          <ac:chgData name="Clark, Connie" userId="73351e60-ad32-4085-a232-1d9f9b189479" providerId="ADAL" clId="{67E60BAE-C65D-4127-AFFB-2197F0786EB1}" dt="2021-02-08T23:37:36.730" v="4127" actId="1037"/>
          <ac:picMkLst>
            <pc:docMk/>
            <pc:sldMk cId="1522693844" sldId="1320"/>
            <ac:picMk id="77" creationId="{2654F6B7-14C0-48F8-9322-688426461E18}"/>
          </ac:picMkLst>
        </pc:picChg>
        <pc:cxnChg chg="add mod">
          <ac:chgData name="Clark, Connie" userId="73351e60-ad32-4085-a232-1d9f9b189479" providerId="ADAL" clId="{67E60BAE-C65D-4127-AFFB-2197F0786EB1}" dt="2021-01-14T14:25:25.336" v="3301" actId="1076"/>
          <ac:cxnSpMkLst>
            <pc:docMk/>
            <pc:sldMk cId="1522693844" sldId="1320"/>
            <ac:cxnSpMk id="57" creationId="{3387518F-0424-4005-93CD-6240E797C017}"/>
          </ac:cxnSpMkLst>
        </pc:cxnChg>
        <pc:cxnChg chg="mod">
          <ac:chgData name="Clark, Connie" userId="73351e60-ad32-4085-a232-1d9f9b189479" providerId="ADAL" clId="{67E60BAE-C65D-4127-AFFB-2197F0786EB1}" dt="2021-01-14T14:23:13.991" v="3240" actId="1037"/>
          <ac:cxnSpMkLst>
            <pc:docMk/>
            <pc:sldMk cId="1522693844" sldId="1320"/>
            <ac:cxnSpMk id="74" creationId="{037A45AB-979F-46BE-9ABF-17DF931F1AD0}"/>
          </ac:cxnSpMkLst>
        </pc:cxnChg>
        <pc:cxnChg chg="del">
          <ac:chgData name="Clark, Connie" userId="73351e60-ad32-4085-a232-1d9f9b189479" providerId="ADAL" clId="{67E60BAE-C65D-4127-AFFB-2197F0786EB1}" dt="2021-01-14T13:25:44.820" v="2668" actId="478"/>
          <ac:cxnSpMkLst>
            <pc:docMk/>
            <pc:sldMk cId="1522693844" sldId="1320"/>
            <ac:cxnSpMk id="76" creationId="{C0E5D261-D596-44AC-900B-8C2C16F12252}"/>
          </ac:cxnSpMkLst>
        </pc:cxnChg>
      </pc:sldChg>
      <pc:sldChg chg="modSp del ord">
        <pc:chgData name="Clark, Connie" userId="73351e60-ad32-4085-a232-1d9f9b189479" providerId="ADAL" clId="{67E60BAE-C65D-4127-AFFB-2197F0786EB1}" dt="2021-01-14T13:28:23.995" v="2800" actId="2696"/>
        <pc:sldMkLst>
          <pc:docMk/>
          <pc:sldMk cId="564648079" sldId="838841337"/>
        </pc:sldMkLst>
        <pc:spChg chg="mod">
          <ac:chgData name="Clark, Connie" userId="73351e60-ad32-4085-a232-1d9f9b189479" providerId="ADAL" clId="{67E60BAE-C65D-4127-AFFB-2197F0786EB1}" dt="2021-01-12T15:03:19.117" v="975" actId="20577"/>
          <ac:spMkLst>
            <pc:docMk/>
            <pc:sldMk cId="564648079" sldId="838841337"/>
            <ac:spMk id="8" creationId="{3A25A542-6D75-48C2-A9E2-447D3591BA4F}"/>
          </ac:spMkLst>
        </pc:spChg>
      </pc:sldChg>
      <pc:sldChg chg="delSp modSp ord">
        <pc:chgData name="Clark, Connie" userId="73351e60-ad32-4085-a232-1d9f9b189479" providerId="ADAL" clId="{67E60BAE-C65D-4127-AFFB-2197F0786EB1}" dt="2021-01-14T15:29:10.459" v="3367" actId="14100"/>
        <pc:sldMkLst>
          <pc:docMk/>
          <pc:sldMk cId="3968367796" sldId="838841345"/>
        </pc:sldMkLst>
        <pc:spChg chg="mod">
          <ac:chgData name="Clark, Connie" userId="73351e60-ad32-4085-a232-1d9f9b189479" providerId="ADAL" clId="{67E60BAE-C65D-4127-AFFB-2197F0786EB1}" dt="2021-01-14T12:10:14.486" v="1716" actId="20577"/>
          <ac:spMkLst>
            <pc:docMk/>
            <pc:sldMk cId="3968367796" sldId="838841345"/>
            <ac:spMk id="8" creationId="{3A25A542-6D75-48C2-A9E2-447D3591BA4F}"/>
          </ac:spMkLst>
        </pc:spChg>
        <pc:spChg chg="mod">
          <ac:chgData name="Clark, Connie" userId="73351e60-ad32-4085-a232-1d9f9b189479" providerId="ADAL" clId="{67E60BAE-C65D-4127-AFFB-2197F0786EB1}" dt="2021-01-14T13:39:25.007" v="2848" actId="2"/>
          <ac:spMkLst>
            <pc:docMk/>
            <pc:sldMk cId="3968367796" sldId="838841345"/>
            <ac:spMk id="49" creationId="{0F5CDAD3-8322-4329-8E19-BD9B8A52F929}"/>
          </ac:spMkLst>
        </pc:spChg>
        <pc:spChg chg="del">
          <ac:chgData name="Clark, Connie" userId="73351e60-ad32-4085-a232-1d9f9b189479" providerId="ADAL" clId="{67E60BAE-C65D-4127-AFFB-2197F0786EB1}" dt="2021-01-14T12:09:40.016" v="1709" actId="478"/>
          <ac:spMkLst>
            <pc:docMk/>
            <pc:sldMk cId="3968367796" sldId="838841345"/>
            <ac:spMk id="52" creationId="{4BB55B14-E469-492E-964B-CD29FD3EC3E8}"/>
          </ac:spMkLst>
        </pc:spChg>
        <pc:spChg chg="mod">
          <ac:chgData name="Clark, Connie" userId="73351e60-ad32-4085-a232-1d9f9b189479" providerId="ADAL" clId="{67E60BAE-C65D-4127-AFFB-2197F0786EB1}" dt="2021-01-14T15:28:41.604" v="3359" actId="113"/>
          <ac:spMkLst>
            <pc:docMk/>
            <pc:sldMk cId="3968367796" sldId="838841345"/>
            <ac:spMk id="53" creationId="{D0F6698C-E925-4474-A021-52196D4E5DE0}"/>
          </ac:spMkLst>
        </pc:spChg>
        <pc:spChg chg="mod">
          <ac:chgData name="Clark, Connie" userId="73351e60-ad32-4085-a232-1d9f9b189479" providerId="ADAL" clId="{67E60BAE-C65D-4127-AFFB-2197F0786EB1}" dt="2021-01-14T15:28:36.351" v="3358" actId="113"/>
          <ac:spMkLst>
            <pc:docMk/>
            <pc:sldMk cId="3968367796" sldId="838841345"/>
            <ac:spMk id="54" creationId="{42FE153B-B295-4BE2-91AD-6F8668E4C4BB}"/>
          </ac:spMkLst>
        </pc:spChg>
        <pc:spChg chg="mod">
          <ac:chgData name="Clark, Connie" userId="73351e60-ad32-4085-a232-1d9f9b189479" providerId="ADAL" clId="{67E60BAE-C65D-4127-AFFB-2197F0786EB1}" dt="2021-01-14T15:29:10.459" v="3367" actId="14100"/>
          <ac:spMkLst>
            <pc:docMk/>
            <pc:sldMk cId="3968367796" sldId="838841345"/>
            <ac:spMk id="55" creationId="{AE669FA8-49F8-422E-BC25-414F0BB51868}"/>
          </ac:spMkLst>
        </pc:spChg>
        <pc:cxnChg chg="del">
          <ac:chgData name="Clark, Connie" userId="73351e60-ad32-4085-a232-1d9f9b189479" providerId="ADAL" clId="{67E60BAE-C65D-4127-AFFB-2197F0786EB1}" dt="2021-01-14T12:09:41.986" v="1710" actId="478"/>
          <ac:cxnSpMkLst>
            <pc:docMk/>
            <pc:sldMk cId="3968367796" sldId="838841345"/>
            <ac:cxnSpMk id="56" creationId="{0AE0C58D-F69A-4492-ABCA-4DA9F46E8C6B}"/>
          </ac:cxnSpMkLst>
        </pc:cxnChg>
        <pc:cxnChg chg="del">
          <ac:chgData name="Clark, Connie" userId="73351e60-ad32-4085-a232-1d9f9b189479" providerId="ADAL" clId="{67E60BAE-C65D-4127-AFFB-2197F0786EB1}" dt="2021-01-14T12:09:47.813" v="1713" actId="478"/>
          <ac:cxnSpMkLst>
            <pc:docMk/>
            <pc:sldMk cId="3968367796" sldId="838841345"/>
            <ac:cxnSpMk id="58" creationId="{BA379B8C-C8B1-4B0D-99DE-6394298F3770}"/>
          </ac:cxnSpMkLst>
        </pc:cxnChg>
        <pc:cxnChg chg="del">
          <ac:chgData name="Clark, Connie" userId="73351e60-ad32-4085-a232-1d9f9b189479" providerId="ADAL" clId="{67E60BAE-C65D-4127-AFFB-2197F0786EB1}" dt="2021-01-14T12:09:44.222" v="1711" actId="478"/>
          <ac:cxnSpMkLst>
            <pc:docMk/>
            <pc:sldMk cId="3968367796" sldId="838841345"/>
            <ac:cxnSpMk id="60" creationId="{32339D5F-0EC1-4166-9E82-F086255315B6}"/>
          </ac:cxnSpMkLst>
        </pc:cxnChg>
        <pc:cxnChg chg="del">
          <ac:chgData name="Clark, Connie" userId="73351e60-ad32-4085-a232-1d9f9b189479" providerId="ADAL" clId="{67E60BAE-C65D-4127-AFFB-2197F0786EB1}" dt="2021-01-14T12:09:45.955" v="1712" actId="478"/>
          <ac:cxnSpMkLst>
            <pc:docMk/>
            <pc:sldMk cId="3968367796" sldId="838841345"/>
            <ac:cxnSpMk id="61" creationId="{50066143-F348-41DA-B7F6-65778EEFC716}"/>
          </ac:cxnSpMkLst>
        </pc:cxnChg>
        <pc:cxnChg chg="del">
          <ac:chgData name="Clark, Connie" userId="73351e60-ad32-4085-a232-1d9f9b189479" providerId="ADAL" clId="{67E60BAE-C65D-4127-AFFB-2197F0786EB1}" dt="2021-01-14T12:09:52.671" v="1715" actId="478"/>
          <ac:cxnSpMkLst>
            <pc:docMk/>
            <pc:sldMk cId="3968367796" sldId="838841345"/>
            <ac:cxnSpMk id="62" creationId="{65224DDC-35DF-4126-914B-DA0DD6F13C43}"/>
          </ac:cxnSpMkLst>
        </pc:cxnChg>
        <pc:cxnChg chg="del">
          <ac:chgData name="Clark, Connie" userId="73351e60-ad32-4085-a232-1d9f9b189479" providerId="ADAL" clId="{67E60BAE-C65D-4127-AFFB-2197F0786EB1}" dt="2021-01-14T12:09:49.454" v="1714" actId="478"/>
          <ac:cxnSpMkLst>
            <pc:docMk/>
            <pc:sldMk cId="3968367796" sldId="838841345"/>
            <ac:cxnSpMk id="69" creationId="{D957ECB0-B225-49D3-A08B-3A8169DEB48E}"/>
          </ac:cxnSpMkLst>
        </pc:cxnChg>
      </pc:sldChg>
      <pc:sldChg chg="add del">
        <pc:chgData name="Clark, Connie" userId="73351e60-ad32-4085-a232-1d9f9b189479" providerId="ADAL" clId="{67E60BAE-C65D-4127-AFFB-2197F0786EB1}" dt="2021-01-12T14:37:15.883" v="12"/>
        <pc:sldMkLst>
          <pc:docMk/>
          <pc:sldMk cId="1623498291" sldId="838841346"/>
        </pc:sldMkLst>
      </pc:sldChg>
      <pc:sldChg chg="addSp delSp modSp add del">
        <pc:chgData name="Clark, Connie" userId="73351e60-ad32-4085-a232-1d9f9b189479" providerId="ADAL" clId="{67E60BAE-C65D-4127-AFFB-2197F0786EB1}" dt="2021-01-14T13:28:46.448" v="2811" actId="2696"/>
        <pc:sldMkLst>
          <pc:docMk/>
          <pc:sldMk cId="3600822910" sldId="838841346"/>
        </pc:sldMkLst>
        <pc:spChg chg="add del mod">
          <ac:chgData name="Clark, Connie" userId="73351e60-ad32-4085-a232-1d9f9b189479" providerId="ADAL" clId="{67E60BAE-C65D-4127-AFFB-2197F0786EB1}" dt="2021-01-14T12:34:08.679" v="1960" actId="478"/>
          <ac:spMkLst>
            <pc:docMk/>
            <pc:sldMk cId="3600822910" sldId="838841346"/>
            <ac:spMk id="2" creationId="{512F4696-9E1A-4F5D-BEDF-4E0489D76550}"/>
          </ac:spMkLst>
        </pc:spChg>
        <pc:spChg chg="mod">
          <ac:chgData name="Clark, Connie" userId="73351e60-ad32-4085-a232-1d9f9b189479" providerId="ADAL" clId="{67E60BAE-C65D-4127-AFFB-2197F0786EB1}" dt="2021-01-12T14:47:36.488" v="755"/>
          <ac:spMkLst>
            <pc:docMk/>
            <pc:sldMk cId="3600822910" sldId="838841346"/>
            <ac:spMk id="6" creationId="{17367D89-1C80-491A-8E75-2D70431A3ED7}"/>
          </ac:spMkLst>
        </pc:spChg>
      </pc:sldChg>
      <pc:sldChg chg="addSp delSp modSp add ord">
        <pc:chgData name="Clark, Connie" userId="73351e60-ad32-4085-a232-1d9f9b189479" providerId="ADAL" clId="{67E60BAE-C65D-4127-AFFB-2197F0786EB1}" dt="2021-01-14T14:27:40" v="3310" actId="20577"/>
        <pc:sldMkLst>
          <pc:docMk/>
          <pc:sldMk cId="2331428083" sldId="838841347"/>
        </pc:sldMkLst>
        <pc:spChg chg="mod">
          <ac:chgData name="Clark, Connie" userId="73351e60-ad32-4085-a232-1d9f9b189479" providerId="ADAL" clId="{67E60BAE-C65D-4127-AFFB-2197F0786EB1}" dt="2021-01-14T12:18:24.527" v="1851" actId="20577"/>
          <ac:spMkLst>
            <pc:docMk/>
            <pc:sldMk cId="2331428083" sldId="838841347"/>
            <ac:spMk id="11" creationId="{FC7AA823-3DC4-424A-9B71-69E540E5BDA4}"/>
          </ac:spMkLst>
        </pc:spChg>
        <pc:spChg chg="del">
          <ac:chgData name="Clark, Connie" userId="73351e60-ad32-4085-a232-1d9f9b189479" providerId="ADAL" clId="{67E60BAE-C65D-4127-AFFB-2197F0786EB1}" dt="2021-01-13T20:29:25.808" v="1561" actId="478"/>
          <ac:spMkLst>
            <pc:docMk/>
            <pc:sldMk cId="2331428083" sldId="838841347"/>
            <ac:spMk id="13" creationId="{8D490154-5005-45AC-B690-E42A845CAD31}"/>
          </ac:spMkLst>
        </pc:spChg>
        <pc:spChg chg="del">
          <ac:chgData name="Clark, Connie" userId="73351e60-ad32-4085-a232-1d9f9b189479" providerId="ADAL" clId="{67E60BAE-C65D-4127-AFFB-2197F0786EB1}" dt="2021-01-13T20:29:29.618" v="1563" actId="478"/>
          <ac:spMkLst>
            <pc:docMk/>
            <pc:sldMk cId="2331428083" sldId="838841347"/>
            <ac:spMk id="14" creationId="{DDD5A10B-5FFA-4031-A44D-03C5256F67A5}"/>
          </ac:spMkLst>
        </pc:spChg>
        <pc:spChg chg="add mod">
          <ac:chgData name="Clark, Connie" userId="73351e60-ad32-4085-a232-1d9f9b189479" providerId="ADAL" clId="{67E60BAE-C65D-4127-AFFB-2197F0786EB1}" dt="2021-01-14T14:27:40" v="3310" actId="20577"/>
          <ac:spMkLst>
            <pc:docMk/>
            <pc:sldMk cId="2331428083" sldId="838841347"/>
            <ac:spMk id="16" creationId="{BDB47532-B92F-414C-9ECF-236B4C095F9F}"/>
          </ac:spMkLst>
        </pc:spChg>
        <pc:spChg chg="add del">
          <ac:chgData name="Clark, Connie" userId="73351e60-ad32-4085-a232-1d9f9b189479" providerId="ADAL" clId="{67E60BAE-C65D-4127-AFFB-2197F0786EB1}" dt="2021-01-13T20:29:27.849" v="1562" actId="478"/>
          <ac:spMkLst>
            <pc:docMk/>
            <pc:sldMk cId="2331428083" sldId="838841347"/>
            <ac:spMk id="56" creationId="{CBC8BE3E-8BD1-4312-B65E-881F16E9F23A}"/>
          </ac:spMkLst>
        </pc:spChg>
        <pc:graphicFrameChg chg="del">
          <ac:chgData name="Clark, Connie" userId="73351e60-ad32-4085-a232-1d9f9b189479" providerId="ADAL" clId="{67E60BAE-C65D-4127-AFFB-2197F0786EB1}" dt="2021-01-13T20:28:41.210" v="1557" actId="478"/>
          <ac:graphicFrameMkLst>
            <pc:docMk/>
            <pc:sldMk cId="2331428083" sldId="838841347"/>
            <ac:graphicFrameMk id="27" creationId="{BC818062-D604-4F73-A09A-A39DEF9098F3}"/>
          </ac:graphicFrameMkLst>
        </pc:graphicFrameChg>
        <pc:picChg chg="add del mod">
          <ac:chgData name="Clark, Connie" userId="73351e60-ad32-4085-a232-1d9f9b189479" providerId="ADAL" clId="{67E60BAE-C65D-4127-AFFB-2197F0786EB1}" dt="2021-01-14T13:30:26.409" v="2821" actId="478"/>
          <ac:picMkLst>
            <pc:docMk/>
            <pc:sldMk cId="2331428083" sldId="838841347"/>
            <ac:picMk id="2" creationId="{FEA61CE6-BF06-4059-89BC-C0C4774ACC91}"/>
          </ac:picMkLst>
        </pc:picChg>
        <pc:picChg chg="add del mod">
          <ac:chgData name="Clark, Connie" userId="73351e60-ad32-4085-a232-1d9f9b189479" providerId="ADAL" clId="{67E60BAE-C65D-4127-AFFB-2197F0786EB1}" dt="2021-01-13T20:30:05.201" v="1565" actId="478"/>
          <ac:picMkLst>
            <pc:docMk/>
            <pc:sldMk cId="2331428083" sldId="838841347"/>
            <ac:picMk id="15" creationId="{61BA7EC7-ECC7-47E5-A62D-D52BB1787ADB}"/>
          </ac:picMkLst>
        </pc:picChg>
      </pc:sldChg>
      <pc:sldChg chg="addSp delSp modSp add del">
        <pc:chgData name="Clark, Connie" userId="73351e60-ad32-4085-a232-1d9f9b189479" providerId="ADAL" clId="{67E60BAE-C65D-4127-AFFB-2197F0786EB1}" dt="2021-02-08T22:52:38.605" v="3959" actId="47"/>
        <pc:sldMkLst>
          <pc:docMk/>
          <pc:sldMk cId="4110698723" sldId="838841348"/>
        </pc:sldMkLst>
        <pc:spChg chg="mod">
          <ac:chgData name="Clark, Connie" userId="73351e60-ad32-4085-a232-1d9f9b189479" providerId="ADAL" clId="{67E60BAE-C65D-4127-AFFB-2197F0786EB1}" dt="2021-01-14T12:26:02.894" v="1929" actId="20577"/>
          <ac:spMkLst>
            <pc:docMk/>
            <pc:sldMk cId="4110698723" sldId="838841348"/>
            <ac:spMk id="11" creationId="{FC7AA823-3DC4-424A-9B71-69E540E5BDA4}"/>
          </ac:spMkLst>
        </pc:spChg>
        <pc:spChg chg="del">
          <ac:chgData name="Clark, Connie" userId="73351e60-ad32-4085-a232-1d9f9b189479" providerId="ADAL" clId="{67E60BAE-C65D-4127-AFFB-2197F0786EB1}" dt="2021-01-14T12:25:57.414" v="1922" actId="478"/>
          <ac:spMkLst>
            <pc:docMk/>
            <pc:sldMk cId="4110698723" sldId="838841348"/>
            <ac:spMk id="16" creationId="{BDB47532-B92F-414C-9ECF-236B4C095F9F}"/>
          </ac:spMkLst>
        </pc:spChg>
        <pc:picChg chg="del mod">
          <ac:chgData name="Clark, Connie" userId="73351e60-ad32-4085-a232-1d9f9b189479" providerId="ADAL" clId="{67E60BAE-C65D-4127-AFFB-2197F0786EB1}" dt="2021-01-14T12:28:47.177" v="1944" actId="478"/>
          <ac:picMkLst>
            <pc:docMk/>
            <pc:sldMk cId="4110698723" sldId="838841348"/>
            <ac:picMk id="2" creationId="{FEA61CE6-BF06-4059-89BC-C0C4774ACC91}"/>
          </ac:picMkLst>
        </pc:picChg>
        <pc:picChg chg="add del mod">
          <ac:chgData name="Clark, Connie" userId="73351e60-ad32-4085-a232-1d9f9b189479" providerId="ADAL" clId="{67E60BAE-C65D-4127-AFFB-2197F0786EB1}" dt="2021-01-14T12:28:47.177" v="1944" actId="478"/>
          <ac:picMkLst>
            <pc:docMk/>
            <pc:sldMk cId="4110698723" sldId="838841348"/>
            <ac:picMk id="6" creationId="{BEBE7D48-42AB-47F8-9154-2DE0A3133B70}"/>
          </ac:picMkLst>
        </pc:picChg>
        <pc:picChg chg="add del mod">
          <ac:chgData name="Clark, Connie" userId="73351e60-ad32-4085-a232-1d9f9b189479" providerId="ADAL" clId="{67E60BAE-C65D-4127-AFFB-2197F0786EB1}" dt="2021-01-14T12:33:15.894" v="1956" actId="478"/>
          <ac:picMkLst>
            <pc:docMk/>
            <pc:sldMk cId="4110698723" sldId="838841348"/>
            <ac:picMk id="7" creationId="{707BF5B2-DA5D-4D56-9A74-B5C6D1D5E6CB}"/>
          </ac:picMkLst>
        </pc:picChg>
        <pc:picChg chg="add mod">
          <ac:chgData name="Clark, Connie" userId="73351e60-ad32-4085-a232-1d9f9b189479" providerId="ADAL" clId="{67E60BAE-C65D-4127-AFFB-2197F0786EB1}" dt="2021-01-14T12:30:10.497" v="1953" actId="1076"/>
          <ac:picMkLst>
            <pc:docMk/>
            <pc:sldMk cId="4110698723" sldId="838841348"/>
            <ac:picMk id="8" creationId="{6C5BA3AC-AFF0-4878-B5CF-DECD184269FB}"/>
          </ac:picMkLst>
        </pc:picChg>
        <pc:picChg chg="add mod">
          <ac:chgData name="Clark, Connie" userId="73351e60-ad32-4085-a232-1d9f9b189479" providerId="ADAL" clId="{67E60BAE-C65D-4127-AFFB-2197F0786EB1}" dt="2021-01-14T12:33:26.970" v="1959" actId="1076"/>
          <ac:picMkLst>
            <pc:docMk/>
            <pc:sldMk cId="4110698723" sldId="838841348"/>
            <ac:picMk id="9" creationId="{9F4E5349-1A28-46F3-9DA5-410C80524F5C}"/>
          </ac:picMkLst>
        </pc:picChg>
      </pc:sldChg>
      <pc:sldChg chg="addSp modSp add del ord">
        <pc:chgData name="Clark, Connie" userId="73351e60-ad32-4085-a232-1d9f9b189479" providerId="ADAL" clId="{67E60BAE-C65D-4127-AFFB-2197F0786EB1}" dt="2021-02-08T22:52:36.557" v="3958" actId="47"/>
        <pc:sldMkLst>
          <pc:docMk/>
          <pc:sldMk cId="2514302371" sldId="838841349"/>
        </pc:sldMkLst>
        <pc:picChg chg="add mod">
          <ac:chgData name="Clark, Connie" userId="73351e60-ad32-4085-a232-1d9f9b189479" providerId="ADAL" clId="{67E60BAE-C65D-4127-AFFB-2197F0786EB1}" dt="2021-01-14T12:28:09.291" v="1942" actId="14100"/>
          <ac:picMkLst>
            <pc:docMk/>
            <pc:sldMk cId="2514302371" sldId="838841349"/>
            <ac:picMk id="7" creationId="{24B78F2F-E9C2-461E-886A-83565F4D2D4D}"/>
          </ac:picMkLst>
        </pc:picChg>
      </pc:sldChg>
      <pc:sldChg chg="addSp delSp modSp add mod">
        <pc:chgData name="Clark, Connie" userId="73351e60-ad32-4085-a232-1d9f9b189479" providerId="ADAL" clId="{67E60BAE-C65D-4127-AFFB-2197F0786EB1}" dt="2021-02-08T22:52:56.939" v="3962" actId="1076"/>
        <pc:sldMkLst>
          <pc:docMk/>
          <pc:sldMk cId="1359104913" sldId="838841350"/>
        </pc:sldMkLst>
        <pc:spChg chg="add del mod">
          <ac:chgData name="Clark, Connie" userId="73351e60-ad32-4085-a232-1d9f9b189479" providerId="ADAL" clId="{67E60BAE-C65D-4127-AFFB-2197F0786EB1}" dt="2021-02-08T22:52:47.755" v="3961" actId="478"/>
          <ac:spMkLst>
            <pc:docMk/>
            <pc:sldMk cId="1359104913" sldId="838841350"/>
            <ac:spMk id="2" creationId="{869C12FA-F37A-4D1A-9D19-B87CBECE1E40}"/>
          </ac:spMkLst>
        </pc:spChg>
        <pc:spChg chg="mod">
          <ac:chgData name="Clark, Connie" userId="73351e60-ad32-4085-a232-1d9f9b189479" providerId="ADAL" clId="{67E60BAE-C65D-4127-AFFB-2197F0786EB1}" dt="2021-01-14T13:42:39.479" v="2907" actId="20577"/>
          <ac:spMkLst>
            <pc:docMk/>
            <pc:sldMk cId="1359104913" sldId="838841350"/>
            <ac:spMk id="6" creationId="{EBAE2549-E87D-458E-AD24-29A079F73922}"/>
          </ac:spMkLst>
        </pc:spChg>
        <pc:spChg chg="mod">
          <ac:chgData name="Clark, Connie" userId="73351e60-ad32-4085-a232-1d9f9b189479" providerId="ADAL" clId="{67E60BAE-C65D-4127-AFFB-2197F0786EB1}" dt="2021-02-08T22:52:56.939" v="3962" actId="1076"/>
          <ac:spMkLst>
            <pc:docMk/>
            <pc:sldMk cId="1359104913" sldId="838841350"/>
            <ac:spMk id="11" creationId="{FC7AA823-3DC4-424A-9B71-69E540E5BDA4}"/>
          </ac:spMkLst>
        </pc:spChg>
        <pc:spChg chg="del">
          <ac:chgData name="Clark, Connie" userId="73351e60-ad32-4085-a232-1d9f9b189479" providerId="ADAL" clId="{67E60BAE-C65D-4127-AFFB-2197F0786EB1}" dt="2021-01-14T13:42:27.856" v="2897" actId="478"/>
          <ac:spMkLst>
            <pc:docMk/>
            <pc:sldMk cId="1359104913" sldId="838841350"/>
            <ac:spMk id="13" creationId="{8D490154-5005-45AC-B690-E42A845CAD31}"/>
          </ac:spMkLst>
        </pc:spChg>
        <pc:spChg chg="del">
          <ac:chgData name="Clark, Connie" userId="73351e60-ad32-4085-a232-1d9f9b189479" providerId="ADAL" clId="{67E60BAE-C65D-4127-AFFB-2197F0786EB1}" dt="2021-01-14T13:42:27.856" v="2897" actId="478"/>
          <ac:spMkLst>
            <pc:docMk/>
            <pc:sldMk cId="1359104913" sldId="838841350"/>
            <ac:spMk id="14" creationId="{DDD5A10B-5FFA-4031-A44D-03C5256F67A5}"/>
          </ac:spMkLst>
        </pc:spChg>
        <pc:spChg chg="del">
          <ac:chgData name="Clark, Connie" userId="73351e60-ad32-4085-a232-1d9f9b189479" providerId="ADAL" clId="{67E60BAE-C65D-4127-AFFB-2197F0786EB1}" dt="2021-01-14T13:42:27.856" v="2897" actId="478"/>
          <ac:spMkLst>
            <pc:docMk/>
            <pc:sldMk cId="1359104913" sldId="838841350"/>
            <ac:spMk id="56" creationId="{CBC8BE3E-8BD1-4312-B65E-881F16E9F23A}"/>
          </ac:spMkLst>
        </pc:spChg>
        <pc:graphicFrameChg chg="del">
          <ac:chgData name="Clark, Connie" userId="73351e60-ad32-4085-a232-1d9f9b189479" providerId="ADAL" clId="{67E60BAE-C65D-4127-AFFB-2197F0786EB1}" dt="2021-01-14T13:42:27.856" v="2897" actId="478"/>
          <ac:graphicFrameMkLst>
            <pc:docMk/>
            <pc:sldMk cId="1359104913" sldId="838841350"/>
            <ac:graphicFrameMk id="27" creationId="{BC818062-D604-4F73-A09A-A39DEF9098F3}"/>
          </ac:graphicFrameMkLst>
        </pc:graphicFrameChg>
      </pc:sldChg>
      <pc:sldChg chg="modSp add del">
        <pc:chgData name="Clark, Connie" userId="73351e60-ad32-4085-a232-1d9f9b189479" providerId="ADAL" clId="{67E60BAE-C65D-4127-AFFB-2197F0786EB1}" dt="2021-01-22T15:52:39.362" v="3833" actId="2696"/>
        <pc:sldMkLst>
          <pc:docMk/>
          <pc:sldMk cId="1709469158" sldId="2141411014"/>
        </pc:sldMkLst>
        <pc:spChg chg="mod">
          <ac:chgData name="Clark, Connie" userId="73351e60-ad32-4085-a232-1d9f9b189479" providerId="ADAL" clId="{67E60BAE-C65D-4127-AFFB-2197F0786EB1}" dt="2021-01-21T03:13:26.349" v="3653" actId="20577"/>
          <ac:spMkLst>
            <pc:docMk/>
            <pc:sldMk cId="1709469158" sldId="2141411014"/>
            <ac:spMk id="115" creationId="{9DE90A65-8FC8-44C8-A159-D6AA71674698}"/>
          </ac:spMkLst>
        </pc:spChg>
      </pc:sldChg>
    </pc:docChg>
  </pc:docChgLst>
  <pc:docChgLst>
    <pc:chgData name="Clark, Connie" userId="73351e60-ad32-4085-a232-1d9f9b189479" providerId="ADAL" clId="{ACC7D834-BCB9-4A0E-928B-499FF22F87DB}"/>
    <pc:docChg chg="modSld">
      <pc:chgData name="Clark, Connie" userId="73351e60-ad32-4085-a232-1d9f9b189479" providerId="ADAL" clId="{ACC7D834-BCB9-4A0E-928B-499FF22F87DB}" dt="2021-03-01T18:11:43.154" v="1" actId="1076"/>
      <pc:docMkLst>
        <pc:docMk/>
      </pc:docMkLst>
      <pc:sldChg chg="addSp modSp mod">
        <pc:chgData name="Clark, Connie" userId="73351e60-ad32-4085-a232-1d9f9b189479" providerId="ADAL" clId="{ACC7D834-BCB9-4A0E-928B-499FF22F87DB}" dt="2021-03-01T18:11:43.154" v="1" actId="1076"/>
        <pc:sldMkLst>
          <pc:docMk/>
          <pc:sldMk cId="378968893" sldId="1272"/>
        </pc:sldMkLst>
        <pc:spChg chg="add mod">
          <ac:chgData name="Clark, Connie" userId="73351e60-ad32-4085-a232-1d9f9b189479" providerId="ADAL" clId="{ACC7D834-BCB9-4A0E-928B-499FF22F87DB}" dt="2021-03-01T18:11:43.154" v="1" actId="1076"/>
          <ac:spMkLst>
            <pc:docMk/>
            <pc:sldMk cId="378968893" sldId="1272"/>
            <ac:spMk id="38" creationId="{8C7E9DB6-EB79-469E-8934-D4961F97BC52}"/>
          </ac:spMkLst>
        </pc:spChg>
      </pc:sldChg>
    </pc:docChg>
  </pc:docChgLst>
  <pc:docChgLst>
    <pc:chgData name="Clark, Connie" userId="73351e60-ad32-4085-a232-1d9f9b189479" providerId="ADAL" clId="{4E7D4551-DDA4-443F-ADEE-48AA20C5383C}"/>
    <pc:docChg chg="undo custSel addSld delSld modSld sldOrd">
      <pc:chgData name="Clark, Connie" userId="73351e60-ad32-4085-a232-1d9f9b189479" providerId="ADAL" clId="{4E7D4551-DDA4-443F-ADEE-48AA20C5383C}" dt="2020-12-16T21:00:17.162" v="103" actId="1076"/>
      <pc:docMkLst>
        <pc:docMk/>
      </pc:docMkLst>
      <pc:sldChg chg="ord">
        <pc:chgData name="Clark, Connie" userId="73351e60-ad32-4085-a232-1d9f9b189479" providerId="ADAL" clId="{4E7D4551-DDA4-443F-ADEE-48AA20C5383C}" dt="2020-12-16T20:54:23.684" v="25"/>
        <pc:sldMkLst>
          <pc:docMk/>
          <pc:sldMk cId="609136180" sldId="613"/>
        </pc:sldMkLst>
      </pc:sldChg>
      <pc:sldChg chg="modSp">
        <pc:chgData name="Clark, Connie" userId="73351e60-ad32-4085-a232-1d9f9b189479" providerId="ADAL" clId="{4E7D4551-DDA4-443F-ADEE-48AA20C5383C}" dt="2020-12-16T20:46:57.946" v="5" actId="20577"/>
        <pc:sldMkLst>
          <pc:docMk/>
          <pc:sldMk cId="3287457382" sldId="896"/>
        </pc:sldMkLst>
        <pc:spChg chg="mod">
          <ac:chgData name="Clark, Connie" userId="73351e60-ad32-4085-a232-1d9f9b189479" providerId="ADAL" clId="{4E7D4551-DDA4-443F-ADEE-48AA20C5383C}" dt="2020-12-16T20:46:57.946" v="5" actId="20577"/>
          <ac:spMkLst>
            <pc:docMk/>
            <pc:sldMk cId="3287457382" sldId="896"/>
            <ac:spMk id="7" creationId="{B727CFFD-FBB7-4F08-85FF-BBEFDEE695C8}"/>
          </ac:spMkLst>
        </pc:spChg>
      </pc:sldChg>
      <pc:sldChg chg="addSp delSp modSp">
        <pc:chgData name="Clark, Connie" userId="73351e60-ad32-4085-a232-1d9f9b189479" providerId="ADAL" clId="{4E7D4551-DDA4-443F-ADEE-48AA20C5383C}" dt="2020-12-16T21:00:17.162" v="103" actId="1076"/>
        <pc:sldMkLst>
          <pc:docMk/>
          <pc:sldMk cId="564648079" sldId="838841337"/>
        </pc:sldMkLst>
        <pc:spChg chg="mod">
          <ac:chgData name="Clark, Connie" userId="73351e60-ad32-4085-a232-1d9f9b189479" providerId="ADAL" clId="{4E7D4551-DDA4-443F-ADEE-48AA20C5383C}" dt="2020-12-16T21:00:01.693" v="100" actId="1076"/>
          <ac:spMkLst>
            <pc:docMk/>
            <pc:sldMk cId="564648079" sldId="838841337"/>
            <ac:spMk id="6" creationId="{3293140A-DD03-441C-B8B2-6687A3D7A87F}"/>
          </ac:spMkLst>
        </pc:spChg>
        <pc:spChg chg="mod">
          <ac:chgData name="Clark, Connie" userId="73351e60-ad32-4085-a232-1d9f9b189479" providerId="ADAL" clId="{4E7D4551-DDA4-443F-ADEE-48AA20C5383C}" dt="2020-12-16T20:58:49.002" v="70" actId="20577"/>
          <ac:spMkLst>
            <pc:docMk/>
            <pc:sldMk cId="564648079" sldId="838841337"/>
            <ac:spMk id="8" creationId="{3A25A542-6D75-48C2-A9E2-447D3591BA4F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10" creationId="{2502605E-3902-453D-A47B-FBF93B90B824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14" creationId="{80A70BE0-CC4A-44DA-A3FB-B30D82487B1A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24" creationId="{32AB2242-C65E-456D-AB5D-C1656A9C599A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25" creationId="{8DCFC4D4-0C1C-4740-B6C5-219B0B67B7B6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29" creationId="{7F4DA32F-5B4A-46F0-9B99-0C5A49E258E0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31" creationId="{B3AB5D3B-CA18-437F-BD4D-6368AC3F341D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32" creationId="{E0E148CA-B90F-4E0A-B408-65F1EC5FAD7B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35" creationId="{0F3F134C-0AA6-45C7-ABEC-3E1DD8B96C85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37" creationId="{CE31F9DA-83FA-45A5-8B61-6B954013FD50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39" creationId="{1DCB9B79-9C69-4EE3-AECA-DD58DECB27DB}"/>
          </ac:spMkLst>
        </pc:spChg>
        <pc:spChg chg="add mod">
          <ac:chgData name="Clark, Connie" userId="73351e60-ad32-4085-a232-1d9f9b189479" providerId="ADAL" clId="{4E7D4551-DDA4-443F-ADEE-48AA20C5383C}" dt="2020-12-16T20:59:07.086" v="96" actId="20577"/>
          <ac:spMkLst>
            <pc:docMk/>
            <pc:sldMk cId="564648079" sldId="838841337"/>
            <ac:spMk id="45" creationId="{010215D8-E892-4BCB-9521-6A9AC6A098F8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50" creationId="{03E21598-489D-430B-A99E-A2ADE808D819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51" creationId="{22BF4308-26D5-494B-AB2D-A4C1EA37502F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57" creationId="{3C58714C-19AD-4F9C-AA13-071AEB591870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59" creationId="{C9D3912A-DC37-4C69-A8B8-BB5FBBF444B3}"/>
          </ac:spMkLst>
        </pc:spChg>
        <pc:spChg chg="del">
          <ac:chgData name="Clark, Connie" userId="73351e60-ad32-4085-a232-1d9f9b189479" providerId="ADAL" clId="{4E7D4551-DDA4-443F-ADEE-48AA20C5383C}" dt="2020-12-16T20:59:14.616" v="97" actId="478"/>
          <ac:spMkLst>
            <pc:docMk/>
            <pc:sldMk cId="564648079" sldId="838841337"/>
            <ac:spMk id="66" creationId="{A0D35C62-9C9C-4C78-B935-4AF4D7E36817}"/>
          </ac:spMkLst>
        </pc:spChg>
        <pc:grpChg chg="del">
          <ac:chgData name="Clark, Connie" userId="73351e60-ad32-4085-a232-1d9f9b189479" providerId="ADAL" clId="{4E7D4551-DDA4-443F-ADEE-48AA20C5383C}" dt="2020-12-16T20:59:14.616" v="97" actId="478"/>
          <ac:grpSpMkLst>
            <pc:docMk/>
            <pc:sldMk cId="564648079" sldId="838841337"/>
            <ac:grpSpMk id="19" creationId="{A9507DDE-8F99-43B9-B35B-61EB70E7A170}"/>
          </ac:grpSpMkLst>
        </pc:grpChg>
        <pc:grpChg chg="del">
          <ac:chgData name="Clark, Connie" userId="73351e60-ad32-4085-a232-1d9f9b189479" providerId="ADAL" clId="{4E7D4551-DDA4-443F-ADEE-48AA20C5383C}" dt="2020-12-16T20:59:14.616" v="97" actId="478"/>
          <ac:grpSpMkLst>
            <pc:docMk/>
            <pc:sldMk cId="564648079" sldId="838841337"/>
            <ac:grpSpMk id="47" creationId="{436FE0A0-E18E-4C90-B44C-D32F8FCD5B5A}"/>
          </ac:grpSpMkLst>
        </pc:grpChg>
        <pc:grpChg chg="del">
          <ac:chgData name="Clark, Connie" userId="73351e60-ad32-4085-a232-1d9f9b189479" providerId="ADAL" clId="{4E7D4551-DDA4-443F-ADEE-48AA20C5383C}" dt="2020-12-16T20:59:14.616" v="97" actId="478"/>
          <ac:grpSpMkLst>
            <pc:docMk/>
            <pc:sldMk cId="564648079" sldId="838841337"/>
            <ac:grpSpMk id="63" creationId="{02E09BD3-E930-432B-B4CA-D1555D89C511}"/>
          </ac:grpSpMkLst>
        </pc:grpChg>
        <pc:picChg chg="del">
          <ac:chgData name="Clark, Connie" userId="73351e60-ad32-4085-a232-1d9f9b189479" providerId="ADAL" clId="{4E7D4551-DDA4-443F-ADEE-48AA20C5383C}" dt="2020-12-16T20:59:14.616" v="97" actId="478"/>
          <ac:picMkLst>
            <pc:docMk/>
            <pc:sldMk cId="564648079" sldId="838841337"/>
            <ac:picMk id="2" creationId="{2F4160DD-EBC8-4D21-B5D0-30CAD4A2F475}"/>
          </ac:picMkLst>
        </pc:picChg>
        <pc:picChg chg="del">
          <ac:chgData name="Clark, Connie" userId="73351e60-ad32-4085-a232-1d9f9b189479" providerId="ADAL" clId="{4E7D4551-DDA4-443F-ADEE-48AA20C5383C}" dt="2020-12-16T20:59:14.616" v="97" actId="478"/>
          <ac:picMkLst>
            <pc:docMk/>
            <pc:sldMk cId="564648079" sldId="838841337"/>
            <ac:picMk id="7" creationId="{1A3437AD-DDF1-4A10-9D35-40D9948B78B0}"/>
          </ac:picMkLst>
        </pc:picChg>
        <pc:picChg chg="add mod">
          <ac:chgData name="Clark, Connie" userId="73351e60-ad32-4085-a232-1d9f9b189479" providerId="ADAL" clId="{4E7D4551-DDA4-443F-ADEE-48AA20C5383C}" dt="2020-12-16T21:00:17.162" v="103" actId="1076"/>
          <ac:picMkLst>
            <pc:docMk/>
            <pc:sldMk cId="564648079" sldId="838841337"/>
            <ac:picMk id="9" creationId="{7F7FD77E-F80E-4A99-A844-8604EE528B1D}"/>
          </ac:picMkLst>
        </pc:picChg>
        <pc:picChg chg="del">
          <ac:chgData name="Clark, Connie" userId="73351e60-ad32-4085-a232-1d9f9b189479" providerId="ADAL" clId="{4E7D4551-DDA4-443F-ADEE-48AA20C5383C}" dt="2020-12-16T20:59:14.616" v="97" actId="478"/>
          <ac:picMkLst>
            <pc:docMk/>
            <pc:sldMk cId="564648079" sldId="838841337"/>
            <ac:picMk id="15" creationId="{D9FB484A-9421-465B-8FED-FF851A7B9BAB}"/>
          </ac:picMkLst>
        </pc:picChg>
        <pc:picChg chg="del">
          <ac:chgData name="Clark, Connie" userId="73351e60-ad32-4085-a232-1d9f9b189479" providerId="ADAL" clId="{4E7D4551-DDA4-443F-ADEE-48AA20C5383C}" dt="2020-12-16T20:59:14.616" v="97" actId="478"/>
          <ac:picMkLst>
            <pc:docMk/>
            <pc:sldMk cId="564648079" sldId="838841337"/>
            <ac:picMk id="16" creationId="{6B2C1F5C-110C-4292-9797-F9D0A7C42A4C}"/>
          </ac:picMkLst>
        </pc:picChg>
        <pc:picChg chg="del">
          <ac:chgData name="Clark, Connie" userId="73351e60-ad32-4085-a232-1d9f9b189479" providerId="ADAL" clId="{4E7D4551-DDA4-443F-ADEE-48AA20C5383C}" dt="2020-12-16T20:59:14.616" v="97" actId="478"/>
          <ac:picMkLst>
            <pc:docMk/>
            <pc:sldMk cId="564648079" sldId="838841337"/>
            <ac:picMk id="17" creationId="{BCE65166-1211-4D28-AC8A-0FD2C74ADEEE}"/>
          </ac:picMkLst>
        </pc:picChg>
        <pc:picChg chg="del">
          <ac:chgData name="Clark, Connie" userId="73351e60-ad32-4085-a232-1d9f9b189479" providerId="ADAL" clId="{4E7D4551-DDA4-443F-ADEE-48AA20C5383C}" dt="2020-12-16T20:59:14.616" v="97" actId="478"/>
          <ac:picMkLst>
            <pc:docMk/>
            <pc:sldMk cId="564648079" sldId="838841337"/>
            <ac:picMk id="30" creationId="{AD3209C6-3CAD-4D73-800D-B8DB2F7CFCC6}"/>
          </ac:picMkLst>
        </pc:picChg>
        <pc:picChg chg="del">
          <ac:chgData name="Clark, Connie" userId="73351e60-ad32-4085-a232-1d9f9b189479" providerId="ADAL" clId="{4E7D4551-DDA4-443F-ADEE-48AA20C5383C}" dt="2020-12-16T20:59:14.616" v="97" actId="478"/>
          <ac:picMkLst>
            <pc:docMk/>
            <pc:sldMk cId="564648079" sldId="838841337"/>
            <ac:picMk id="41" creationId="{CEB7CA83-8A54-4B5D-A899-49A93413E92A}"/>
          </ac:picMkLst>
        </pc:picChg>
        <pc:picChg chg="del">
          <ac:chgData name="Clark, Connie" userId="73351e60-ad32-4085-a232-1d9f9b189479" providerId="ADAL" clId="{4E7D4551-DDA4-443F-ADEE-48AA20C5383C}" dt="2020-12-16T20:59:14.616" v="97" actId="478"/>
          <ac:picMkLst>
            <pc:docMk/>
            <pc:sldMk cId="564648079" sldId="838841337"/>
            <ac:picMk id="42" creationId="{B77F2F55-D46D-4962-AF0C-F8463BEAD896}"/>
          </ac:picMkLst>
        </pc:picChg>
        <pc:picChg chg="del">
          <ac:chgData name="Clark, Connie" userId="73351e60-ad32-4085-a232-1d9f9b189479" providerId="ADAL" clId="{4E7D4551-DDA4-443F-ADEE-48AA20C5383C}" dt="2020-12-16T20:59:14.616" v="97" actId="478"/>
          <ac:picMkLst>
            <pc:docMk/>
            <pc:sldMk cId="564648079" sldId="838841337"/>
            <ac:picMk id="43" creationId="{D8E99159-1B80-41AB-A101-49EEB202F3E5}"/>
          </ac:picMkLst>
        </pc:picChg>
        <pc:picChg chg="del">
          <ac:chgData name="Clark, Connie" userId="73351e60-ad32-4085-a232-1d9f9b189479" providerId="ADAL" clId="{4E7D4551-DDA4-443F-ADEE-48AA20C5383C}" dt="2020-12-16T20:59:14.616" v="97" actId="478"/>
          <ac:picMkLst>
            <pc:docMk/>
            <pc:sldMk cId="564648079" sldId="838841337"/>
            <ac:picMk id="44" creationId="{93705C46-4DBC-497A-82C2-BEBF949E588D}"/>
          </ac:picMkLst>
        </pc:picChg>
      </pc:sldChg>
      <pc:sldChg chg="modSp add del">
        <pc:chgData name="Clark, Connie" userId="73351e60-ad32-4085-a232-1d9f9b189479" providerId="ADAL" clId="{4E7D4551-DDA4-443F-ADEE-48AA20C5383C}" dt="2020-12-16T20:54:08.505" v="24" actId="20577"/>
        <pc:sldMkLst>
          <pc:docMk/>
          <pc:sldMk cId="3968367796" sldId="838841345"/>
        </pc:sldMkLst>
        <pc:spChg chg="mod">
          <ac:chgData name="Clark, Connie" userId="73351e60-ad32-4085-a232-1d9f9b189479" providerId="ADAL" clId="{4E7D4551-DDA4-443F-ADEE-48AA20C5383C}" dt="2020-12-16T20:54:08.505" v="24" actId="20577"/>
          <ac:spMkLst>
            <pc:docMk/>
            <pc:sldMk cId="3968367796" sldId="838841345"/>
            <ac:spMk id="8" creationId="{3A25A542-6D75-48C2-A9E2-447D3591BA4F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6DE45A-9A35-4F83-B59C-17B42F1F750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7A0B307-C117-43A8-A82F-4ACF21A759D1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s-ES" sz="14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Brindar estándares </a:t>
          </a:r>
          <a:r>
            <a:rPr lang="es-ES" sz="14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que permitan operar eficientemente dentro de los,Warehouses de LAO, asegurando la Trazabilidad dentro de toda la cadena de Suministro (E2E).</a:t>
          </a:r>
          <a:endParaRPr lang="en-US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551427-8737-4D62-8FF8-108875062414}" type="parTrans" cxnId="{6BC9D7C2-5E17-46B6-B25D-C5E4C9B7CE7E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B34915-8D20-4528-857A-F1E1EC62CFFC}" type="sibTrans" cxnId="{6BC9D7C2-5E17-46B6-B25D-C5E4C9B7CE7E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5AC8656-0E58-45F0-9424-3B9D4E8A4BCB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s-ES" sz="14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Contemplar cierta </a:t>
          </a:r>
          <a:r>
            <a:rPr lang="es-ES" sz="14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flexibilidad en los procesos </a:t>
          </a:r>
          <a:r>
            <a:rPr lang="es-ES" sz="14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para  soportar futuros cambios, transformaciones y crecimientos del negocio</a:t>
          </a:r>
          <a:endParaRPr lang="en-US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34E3E93-2D06-4566-A68E-E74545BEFF37}" type="parTrans" cxnId="{D50BD83D-351C-49C2-82CE-F26BC52B3109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73273A6-F27D-455A-8E60-521BD4AEC9AB}" type="sibTrans" cxnId="{D50BD83D-351C-49C2-82CE-F26BC52B3109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E1BA7F8-7578-409C-899D-62745F815880}">
      <dgm:prSet phldrT="[Text]" custT="1"/>
      <dgm:spPr/>
      <dgm:t>
        <a:bodyPr/>
        <a:lstStyle/>
        <a:p>
          <a:r>
            <a:rPr lang="es-ES" sz="14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Brindar estándares que permitan </a:t>
          </a:r>
          <a:r>
            <a:rPr lang="es-ES" sz="14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medir la productividad/ eficiencia </a:t>
          </a:r>
          <a:r>
            <a:rPr lang="es-ES" sz="14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en cada DC.</a:t>
          </a:r>
          <a:endParaRPr lang="en-US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A8FB03-E89A-48E7-9219-F8D06EC04F3D}" type="parTrans" cxnId="{7D13DF95-756D-48E2-A6D6-E9D91FB9FD41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1AFF38-085D-4E8D-A31F-CA1D937FEDDC}" type="sibTrans" cxnId="{7D13DF95-756D-48E2-A6D6-E9D91FB9FD41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EC9AF1-0577-46F6-A108-6DB536331303}">
      <dgm:prSet phldrT="[Text]" custT="1"/>
      <dgm:spPr/>
      <dgm:t>
        <a:bodyPr/>
        <a:lstStyle/>
        <a:p>
          <a:r>
            <a:rPr lang="es-ES" sz="14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Desarrollar soluciones bajo las </a:t>
          </a:r>
          <a:r>
            <a:rPr lang="es-ES" sz="14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mejores prácticas de operaciones de almacenes y equipamientos</a:t>
          </a:r>
          <a:r>
            <a:rPr lang="es-ES" sz="14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. Esto implica minimizar movimientos, interrupciones de flujos y cuellos de botella/ complejidad operativa. </a:t>
          </a:r>
          <a:endParaRPr lang="en-US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6397E2A-8116-4136-A723-AA15AFE0128A}" type="parTrans" cxnId="{24F5E0B7-6D8A-40B6-A71C-8C11D1460AC2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28CDB61-FC18-4967-A2E6-1016841EC919}" type="sibTrans" cxnId="{24F5E0B7-6D8A-40B6-A71C-8C11D1460AC2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AC982CD-3D25-49C0-A168-45F8A569020F}">
      <dgm:prSet phldrT="[Text]" custT="1"/>
      <dgm:spPr/>
      <dgm:t>
        <a:bodyPr/>
        <a:lstStyle/>
        <a:p>
          <a:r>
            <a:rPr lang="es-ES" sz="14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Incluir </a:t>
          </a:r>
          <a:r>
            <a:rPr lang="es-ES" sz="14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Normas y estándares de seguridad y calidad </a:t>
          </a:r>
          <a:r>
            <a:rPr lang="es-ES" sz="14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para garantizar que los Warehouses trabajen  en forma Segura y con las normas de Calidad establecidas por KC LAO</a:t>
          </a:r>
          <a:endParaRPr lang="en-US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6F9C343-05EE-4977-9FF9-96D7EDC73C6A}" type="parTrans" cxnId="{4B077024-D51D-445A-9E5E-8599FD64457E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04653D-8B05-4BED-804A-1FBF1B854CF1}" type="sibTrans" cxnId="{4B077024-D51D-445A-9E5E-8599FD64457E}">
      <dgm:prSet/>
      <dgm:spPr/>
      <dgm:t>
        <a:bodyPr/>
        <a:lstStyle/>
        <a:p>
          <a:endParaRPr lang="en-US" sz="16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D6142E4-D2DE-4FF4-90ED-1258A89785DE}">
      <dgm:prSet phldrT="[Text]" custT="1"/>
      <dgm:spPr/>
      <dgm:t>
        <a:bodyPr/>
        <a:lstStyle/>
        <a:p>
          <a:r>
            <a:rPr lang="es-ES" sz="14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Un </a:t>
          </a:r>
          <a:r>
            <a:rPr lang="es-ES" sz="14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enfoque consistente y repetible </a:t>
          </a:r>
          <a:r>
            <a:rPr lang="es-ES" sz="14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con especificaciones de operaciones  de almacenes</a:t>
          </a:r>
          <a:endParaRPr lang="en-US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B71525D-01FF-41C6-8554-FF42664E7986}" type="parTrans" cxnId="{AB1B91A3-5688-48CC-9775-DBA2D7CBAC04}">
      <dgm:prSet/>
      <dgm:spPr/>
      <dgm:t>
        <a:bodyPr/>
        <a:lstStyle/>
        <a:p>
          <a:endParaRPr lang="es-AR"/>
        </a:p>
      </dgm:t>
    </dgm:pt>
    <dgm:pt modelId="{6E66E8F2-B5BF-4EC0-9FBD-EACC9263B49D}" type="sibTrans" cxnId="{AB1B91A3-5688-48CC-9775-DBA2D7CBAC04}">
      <dgm:prSet/>
      <dgm:spPr/>
      <dgm:t>
        <a:bodyPr/>
        <a:lstStyle/>
        <a:p>
          <a:endParaRPr lang="es-AR"/>
        </a:p>
      </dgm:t>
    </dgm:pt>
    <dgm:pt modelId="{BE1D83AB-E59D-4301-8702-83456EBCAC36}" type="pres">
      <dgm:prSet presAssocID="{E86DE45A-9A35-4F83-B59C-17B42F1F750C}" presName="Name0" presStyleCnt="0">
        <dgm:presLayoutVars>
          <dgm:chMax val="7"/>
          <dgm:chPref val="7"/>
          <dgm:dir/>
        </dgm:presLayoutVars>
      </dgm:prSet>
      <dgm:spPr/>
    </dgm:pt>
    <dgm:pt modelId="{82280448-D9B6-4A73-B667-3E2D7D949265}" type="pres">
      <dgm:prSet presAssocID="{E86DE45A-9A35-4F83-B59C-17B42F1F750C}" presName="Name1" presStyleCnt="0"/>
      <dgm:spPr/>
    </dgm:pt>
    <dgm:pt modelId="{2198F85C-1BE5-43CB-86E4-5076A68D4320}" type="pres">
      <dgm:prSet presAssocID="{E86DE45A-9A35-4F83-B59C-17B42F1F750C}" presName="cycle" presStyleCnt="0"/>
      <dgm:spPr/>
    </dgm:pt>
    <dgm:pt modelId="{6329B08B-A731-4FA1-8AAC-DE996D09C12B}" type="pres">
      <dgm:prSet presAssocID="{E86DE45A-9A35-4F83-B59C-17B42F1F750C}" presName="srcNode" presStyleLbl="node1" presStyleIdx="0" presStyleCnt="6"/>
      <dgm:spPr/>
    </dgm:pt>
    <dgm:pt modelId="{E7247F0A-9AE9-4958-88CF-19349929C5BC}" type="pres">
      <dgm:prSet presAssocID="{E86DE45A-9A35-4F83-B59C-17B42F1F750C}" presName="conn" presStyleLbl="parChTrans1D2" presStyleIdx="0" presStyleCnt="1"/>
      <dgm:spPr/>
    </dgm:pt>
    <dgm:pt modelId="{C5290EF4-2DA8-4EC1-BD75-D632E57C0D6B}" type="pres">
      <dgm:prSet presAssocID="{E86DE45A-9A35-4F83-B59C-17B42F1F750C}" presName="extraNode" presStyleLbl="node1" presStyleIdx="0" presStyleCnt="6"/>
      <dgm:spPr/>
    </dgm:pt>
    <dgm:pt modelId="{958C9B21-3136-4D0B-8537-436675E2F8B9}" type="pres">
      <dgm:prSet presAssocID="{E86DE45A-9A35-4F83-B59C-17B42F1F750C}" presName="dstNode" presStyleLbl="node1" presStyleIdx="0" presStyleCnt="6"/>
      <dgm:spPr/>
    </dgm:pt>
    <dgm:pt modelId="{A45CAAE5-D7B1-4173-A17C-33CC79E0B455}" type="pres">
      <dgm:prSet presAssocID="{E7A0B307-C117-43A8-A82F-4ACF21A759D1}" presName="text_1" presStyleLbl="node1" presStyleIdx="0" presStyleCnt="6" custScaleY="101923">
        <dgm:presLayoutVars>
          <dgm:bulletEnabled val="1"/>
        </dgm:presLayoutVars>
      </dgm:prSet>
      <dgm:spPr/>
    </dgm:pt>
    <dgm:pt modelId="{2DD9B34C-3849-4645-959D-275D4001F7F4}" type="pres">
      <dgm:prSet presAssocID="{E7A0B307-C117-43A8-A82F-4ACF21A759D1}" presName="accent_1" presStyleCnt="0"/>
      <dgm:spPr/>
    </dgm:pt>
    <dgm:pt modelId="{2736CA83-D2D5-43E9-BD08-A13DD1B413C0}" type="pres">
      <dgm:prSet presAssocID="{E7A0B307-C117-43A8-A82F-4ACF21A759D1}" presName="accentRepeatNode" presStyleLbl="solidFgAcc1" presStyleIdx="0" presStyleCnt="6"/>
      <dgm:spPr/>
    </dgm:pt>
    <dgm:pt modelId="{E0D96FDB-D540-440D-B647-D935BF7AA737}" type="pres">
      <dgm:prSet presAssocID="{F5AC8656-0E58-45F0-9424-3B9D4E8A4BCB}" presName="text_2" presStyleLbl="node1" presStyleIdx="1" presStyleCnt="6" custScaleY="102729" custLinFactNeighborY="-8119">
        <dgm:presLayoutVars>
          <dgm:bulletEnabled val="1"/>
        </dgm:presLayoutVars>
      </dgm:prSet>
      <dgm:spPr/>
    </dgm:pt>
    <dgm:pt modelId="{6072A5FA-53C5-42B3-8CC0-DFB07A3EA937}" type="pres">
      <dgm:prSet presAssocID="{F5AC8656-0E58-45F0-9424-3B9D4E8A4BCB}" presName="accent_2" presStyleCnt="0"/>
      <dgm:spPr/>
    </dgm:pt>
    <dgm:pt modelId="{D418B5BE-B21E-4046-A0AD-023429D3C79F}" type="pres">
      <dgm:prSet presAssocID="{F5AC8656-0E58-45F0-9424-3B9D4E8A4BCB}" presName="accentRepeatNode" presStyleLbl="solidFgAcc1" presStyleIdx="1" presStyleCnt="6"/>
      <dgm:spPr/>
    </dgm:pt>
    <dgm:pt modelId="{7E8F61EA-ACDF-4023-9D8E-C56B5C1562CC}" type="pres">
      <dgm:prSet presAssocID="{CE1BA7F8-7578-409C-899D-62745F815880}" presName="text_3" presStyleLbl="node1" presStyleIdx="2" presStyleCnt="6" custScaleY="119228">
        <dgm:presLayoutVars>
          <dgm:bulletEnabled val="1"/>
        </dgm:presLayoutVars>
      </dgm:prSet>
      <dgm:spPr/>
    </dgm:pt>
    <dgm:pt modelId="{512042CF-7831-48E4-B86F-75B4B2DD27E3}" type="pres">
      <dgm:prSet presAssocID="{CE1BA7F8-7578-409C-899D-62745F815880}" presName="accent_3" presStyleCnt="0"/>
      <dgm:spPr/>
    </dgm:pt>
    <dgm:pt modelId="{95CA476E-0C3E-422B-8318-5865267F3ACD}" type="pres">
      <dgm:prSet presAssocID="{CE1BA7F8-7578-409C-899D-62745F815880}" presName="accentRepeatNode" presStyleLbl="solidFgAcc1" presStyleIdx="2" presStyleCnt="6"/>
      <dgm:spPr/>
    </dgm:pt>
    <dgm:pt modelId="{1178BF77-D28D-4929-9BD0-F60B7052B9A1}" type="pres">
      <dgm:prSet presAssocID="{A9EC9AF1-0577-46F6-A108-6DB536331303}" presName="text_4" presStyleLbl="node1" presStyleIdx="3" presStyleCnt="6" custScaleY="127196">
        <dgm:presLayoutVars>
          <dgm:bulletEnabled val="1"/>
        </dgm:presLayoutVars>
      </dgm:prSet>
      <dgm:spPr/>
    </dgm:pt>
    <dgm:pt modelId="{74D24EB7-9968-434D-A8A0-4B47B4AC3523}" type="pres">
      <dgm:prSet presAssocID="{A9EC9AF1-0577-46F6-A108-6DB536331303}" presName="accent_4" presStyleCnt="0"/>
      <dgm:spPr/>
    </dgm:pt>
    <dgm:pt modelId="{9F6D53BC-B7FD-4581-845B-9DE1F23B2376}" type="pres">
      <dgm:prSet presAssocID="{A9EC9AF1-0577-46F6-A108-6DB536331303}" presName="accentRepeatNode" presStyleLbl="solidFgAcc1" presStyleIdx="3" presStyleCnt="6"/>
      <dgm:spPr/>
    </dgm:pt>
    <dgm:pt modelId="{2D22007D-1927-42D5-85C9-A2ADF9857C09}" type="pres">
      <dgm:prSet presAssocID="{7AC982CD-3D25-49C0-A168-45F8A569020F}" presName="text_5" presStyleLbl="node1" presStyleIdx="4" presStyleCnt="6" custScaleY="120691" custLinFactNeighborY="-4419">
        <dgm:presLayoutVars>
          <dgm:bulletEnabled val="1"/>
        </dgm:presLayoutVars>
      </dgm:prSet>
      <dgm:spPr/>
    </dgm:pt>
    <dgm:pt modelId="{6225B9F2-720B-4FDD-93A5-89BD07E82D98}" type="pres">
      <dgm:prSet presAssocID="{7AC982CD-3D25-49C0-A168-45F8A569020F}" presName="accent_5" presStyleCnt="0"/>
      <dgm:spPr/>
    </dgm:pt>
    <dgm:pt modelId="{372AFAE5-5FBB-4ACF-B28E-A0D1EA93AC3F}" type="pres">
      <dgm:prSet presAssocID="{7AC982CD-3D25-49C0-A168-45F8A569020F}" presName="accentRepeatNode" presStyleLbl="solidFgAcc1" presStyleIdx="4" presStyleCnt="6"/>
      <dgm:spPr/>
    </dgm:pt>
    <dgm:pt modelId="{6A012DA5-64AD-463C-8B94-3FB94FAAC7DA}" type="pres">
      <dgm:prSet presAssocID="{FD6142E4-D2DE-4FF4-90ED-1258A89785DE}" presName="text_6" presStyleLbl="node1" presStyleIdx="5" presStyleCnt="6">
        <dgm:presLayoutVars>
          <dgm:bulletEnabled val="1"/>
        </dgm:presLayoutVars>
      </dgm:prSet>
      <dgm:spPr/>
    </dgm:pt>
    <dgm:pt modelId="{65122D8F-B4D0-4AC6-8431-9F7F38EC29D6}" type="pres">
      <dgm:prSet presAssocID="{FD6142E4-D2DE-4FF4-90ED-1258A89785DE}" presName="accent_6" presStyleCnt="0"/>
      <dgm:spPr/>
    </dgm:pt>
    <dgm:pt modelId="{6683D336-F27C-4BB7-8F6E-D7980532EFA5}" type="pres">
      <dgm:prSet presAssocID="{FD6142E4-D2DE-4FF4-90ED-1258A89785DE}" presName="accentRepeatNode" presStyleLbl="solidFgAcc1" presStyleIdx="5" presStyleCnt="6"/>
      <dgm:spPr/>
    </dgm:pt>
  </dgm:ptLst>
  <dgm:cxnLst>
    <dgm:cxn modelId="{4B077024-D51D-445A-9E5E-8599FD64457E}" srcId="{E86DE45A-9A35-4F83-B59C-17B42F1F750C}" destId="{7AC982CD-3D25-49C0-A168-45F8A569020F}" srcOrd="4" destOrd="0" parTransId="{E6F9C343-05EE-4977-9FF9-96D7EDC73C6A}" sibTransId="{A904653D-8B05-4BED-804A-1FBF1B854CF1}"/>
    <dgm:cxn modelId="{BCEEF92B-5CD2-4A40-8D33-51E8E45A7626}" type="presOf" srcId="{E7A0B307-C117-43A8-A82F-4ACF21A759D1}" destId="{A45CAAE5-D7B1-4173-A17C-33CC79E0B455}" srcOrd="0" destOrd="0" presId="urn:microsoft.com/office/officeart/2008/layout/VerticalCurvedList"/>
    <dgm:cxn modelId="{50C6153B-68FE-4A49-A23C-E9EE5D7BE907}" type="presOf" srcId="{7AC982CD-3D25-49C0-A168-45F8A569020F}" destId="{2D22007D-1927-42D5-85C9-A2ADF9857C09}" srcOrd="0" destOrd="0" presId="urn:microsoft.com/office/officeart/2008/layout/VerticalCurvedList"/>
    <dgm:cxn modelId="{D50BD83D-351C-49C2-82CE-F26BC52B3109}" srcId="{E86DE45A-9A35-4F83-B59C-17B42F1F750C}" destId="{F5AC8656-0E58-45F0-9424-3B9D4E8A4BCB}" srcOrd="1" destOrd="0" parTransId="{234E3E93-2D06-4566-A68E-E74545BEFF37}" sibTransId="{073273A6-F27D-455A-8E60-521BD4AEC9AB}"/>
    <dgm:cxn modelId="{53217563-B051-4AB7-BCAF-0E008CE8872C}" type="presOf" srcId="{4AB34915-8D20-4528-857A-F1E1EC62CFFC}" destId="{E7247F0A-9AE9-4958-88CF-19349929C5BC}" srcOrd="0" destOrd="0" presId="urn:microsoft.com/office/officeart/2008/layout/VerticalCurvedList"/>
    <dgm:cxn modelId="{CB925955-C432-49F0-B946-6F1879C67B7F}" type="presOf" srcId="{A9EC9AF1-0577-46F6-A108-6DB536331303}" destId="{1178BF77-D28D-4929-9BD0-F60B7052B9A1}" srcOrd="0" destOrd="0" presId="urn:microsoft.com/office/officeart/2008/layout/VerticalCurvedList"/>
    <dgm:cxn modelId="{AC582056-ABC9-4087-952C-63BCC0131C9B}" type="presOf" srcId="{F5AC8656-0E58-45F0-9424-3B9D4E8A4BCB}" destId="{E0D96FDB-D540-440D-B647-D935BF7AA737}" srcOrd="0" destOrd="0" presId="urn:microsoft.com/office/officeart/2008/layout/VerticalCurvedList"/>
    <dgm:cxn modelId="{7D13DF95-756D-48E2-A6D6-E9D91FB9FD41}" srcId="{E86DE45A-9A35-4F83-B59C-17B42F1F750C}" destId="{CE1BA7F8-7578-409C-899D-62745F815880}" srcOrd="2" destOrd="0" parTransId="{2AA8FB03-E89A-48E7-9219-F8D06EC04F3D}" sibTransId="{4D1AFF38-085D-4E8D-A31F-CA1D937FEDDC}"/>
    <dgm:cxn modelId="{AFAF4D9F-3FA1-4E7E-90ED-FC98B6D8F065}" type="presOf" srcId="{E86DE45A-9A35-4F83-B59C-17B42F1F750C}" destId="{BE1D83AB-E59D-4301-8702-83456EBCAC36}" srcOrd="0" destOrd="0" presId="urn:microsoft.com/office/officeart/2008/layout/VerticalCurvedList"/>
    <dgm:cxn modelId="{AB1B91A3-5688-48CC-9775-DBA2D7CBAC04}" srcId="{E86DE45A-9A35-4F83-B59C-17B42F1F750C}" destId="{FD6142E4-D2DE-4FF4-90ED-1258A89785DE}" srcOrd="5" destOrd="0" parTransId="{DB71525D-01FF-41C6-8554-FF42664E7986}" sibTransId="{6E66E8F2-B5BF-4EC0-9FBD-EACC9263B49D}"/>
    <dgm:cxn modelId="{24F5E0B7-6D8A-40B6-A71C-8C11D1460AC2}" srcId="{E86DE45A-9A35-4F83-B59C-17B42F1F750C}" destId="{A9EC9AF1-0577-46F6-A108-6DB536331303}" srcOrd="3" destOrd="0" parTransId="{86397E2A-8116-4136-A723-AA15AFE0128A}" sibTransId="{F28CDB61-FC18-4967-A2E6-1016841EC919}"/>
    <dgm:cxn modelId="{15408FBC-E47A-416D-8F60-086990AFC23B}" type="presOf" srcId="{CE1BA7F8-7578-409C-899D-62745F815880}" destId="{7E8F61EA-ACDF-4023-9D8E-C56B5C1562CC}" srcOrd="0" destOrd="0" presId="urn:microsoft.com/office/officeart/2008/layout/VerticalCurvedList"/>
    <dgm:cxn modelId="{6BC9D7C2-5E17-46B6-B25D-C5E4C9B7CE7E}" srcId="{E86DE45A-9A35-4F83-B59C-17B42F1F750C}" destId="{E7A0B307-C117-43A8-A82F-4ACF21A759D1}" srcOrd="0" destOrd="0" parTransId="{4B551427-8737-4D62-8FF8-108875062414}" sibTransId="{4AB34915-8D20-4528-857A-F1E1EC62CFFC}"/>
    <dgm:cxn modelId="{D9BF85C7-5BA2-4CC6-9D8C-D8F9D53B14C5}" type="presOf" srcId="{FD6142E4-D2DE-4FF4-90ED-1258A89785DE}" destId="{6A012DA5-64AD-463C-8B94-3FB94FAAC7DA}" srcOrd="0" destOrd="0" presId="urn:microsoft.com/office/officeart/2008/layout/VerticalCurvedList"/>
    <dgm:cxn modelId="{351E6DE5-61BA-417E-8C1A-25DC683B8B21}" type="presParOf" srcId="{BE1D83AB-E59D-4301-8702-83456EBCAC36}" destId="{82280448-D9B6-4A73-B667-3E2D7D949265}" srcOrd="0" destOrd="0" presId="urn:microsoft.com/office/officeart/2008/layout/VerticalCurvedList"/>
    <dgm:cxn modelId="{90DCC042-51C0-47E1-A6D0-EC243014FFA4}" type="presParOf" srcId="{82280448-D9B6-4A73-B667-3E2D7D949265}" destId="{2198F85C-1BE5-43CB-86E4-5076A68D4320}" srcOrd="0" destOrd="0" presId="urn:microsoft.com/office/officeart/2008/layout/VerticalCurvedList"/>
    <dgm:cxn modelId="{90977152-455D-437F-A9F0-B8B2C3B0C9FC}" type="presParOf" srcId="{2198F85C-1BE5-43CB-86E4-5076A68D4320}" destId="{6329B08B-A731-4FA1-8AAC-DE996D09C12B}" srcOrd="0" destOrd="0" presId="urn:microsoft.com/office/officeart/2008/layout/VerticalCurvedList"/>
    <dgm:cxn modelId="{EB10314F-6ECE-4CAA-9523-034CF0597DC2}" type="presParOf" srcId="{2198F85C-1BE5-43CB-86E4-5076A68D4320}" destId="{E7247F0A-9AE9-4958-88CF-19349929C5BC}" srcOrd="1" destOrd="0" presId="urn:microsoft.com/office/officeart/2008/layout/VerticalCurvedList"/>
    <dgm:cxn modelId="{24956C8D-C323-417A-B4EF-AE62285CC751}" type="presParOf" srcId="{2198F85C-1BE5-43CB-86E4-5076A68D4320}" destId="{C5290EF4-2DA8-4EC1-BD75-D632E57C0D6B}" srcOrd="2" destOrd="0" presId="urn:microsoft.com/office/officeart/2008/layout/VerticalCurvedList"/>
    <dgm:cxn modelId="{5B5A411C-F8FA-465C-8C81-D9BB07B54AA7}" type="presParOf" srcId="{2198F85C-1BE5-43CB-86E4-5076A68D4320}" destId="{958C9B21-3136-4D0B-8537-436675E2F8B9}" srcOrd="3" destOrd="0" presId="urn:microsoft.com/office/officeart/2008/layout/VerticalCurvedList"/>
    <dgm:cxn modelId="{61F1F75B-9EC2-4805-ACC5-BBCE329F7715}" type="presParOf" srcId="{82280448-D9B6-4A73-B667-3E2D7D949265}" destId="{A45CAAE5-D7B1-4173-A17C-33CC79E0B455}" srcOrd="1" destOrd="0" presId="urn:microsoft.com/office/officeart/2008/layout/VerticalCurvedList"/>
    <dgm:cxn modelId="{B8C5B76F-CB09-4182-9587-6B721F2CF9A5}" type="presParOf" srcId="{82280448-D9B6-4A73-B667-3E2D7D949265}" destId="{2DD9B34C-3849-4645-959D-275D4001F7F4}" srcOrd="2" destOrd="0" presId="urn:microsoft.com/office/officeart/2008/layout/VerticalCurvedList"/>
    <dgm:cxn modelId="{B069D02B-E5B0-41EF-9502-D1E383512A63}" type="presParOf" srcId="{2DD9B34C-3849-4645-959D-275D4001F7F4}" destId="{2736CA83-D2D5-43E9-BD08-A13DD1B413C0}" srcOrd="0" destOrd="0" presId="urn:microsoft.com/office/officeart/2008/layout/VerticalCurvedList"/>
    <dgm:cxn modelId="{46C2309A-415B-4ECF-8846-EA3A0F6EE903}" type="presParOf" srcId="{82280448-D9B6-4A73-B667-3E2D7D949265}" destId="{E0D96FDB-D540-440D-B647-D935BF7AA737}" srcOrd="3" destOrd="0" presId="urn:microsoft.com/office/officeart/2008/layout/VerticalCurvedList"/>
    <dgm:cxn modelId="{DF246A3A-AA6F-41BF-BC6E-E8905AEB5481}" type="presParOf" srcId="{82280448-D9B6-4A73-B667-3E2D7D949265}" destId="{6072A5FA-53C5-42B3-8CC0-DFB07A3EA937}" srcOrd="4" destOrd="0" presId="urn:microsoft.com/office/officeart/2008/layout/VerticalCurvedList"/>
    <dgm:cxn modelId="{92358240-7CC4-4E05-9F21-A2EF4A878F08}" type="presParOf" srcId="{6072A5FA-53C5-42B3-8CC0-DFB07A3EA937}" destId="{D418B5BE-B21E-4046-A0AD-023429D3C79F}" srcOrd="0" destOrd="0" presId="urn:microsoft.com/office/officeart/2008/layout/VerticalCurvedList"/>
    <dgm:cxn modelId="{910E9D5A-FF46-4232-A657-D272091C83B2}" type="presParOf" srcId="{82280448-D9B6-4A73-B667-3E2D7D949265}" destId="{7E8F61EA-ACDF-4023-9D8E-C56B5C1562CC}" srcOrd="5" destOrd="0" presId="urn:microsoft.com/office/officeart/2008/layout/VerticalCurvedList"/>
    <dgm:cxn modelId="{81E3102D-0638-4A9C-8626-2C59EF1681EB}" type="presParOf" srcId="{82280448-D9B6-4A73-B667-3E2D7D949265}" destId="{512042CF-7831-48E4-B86F-75B4B2DD27E3}" srcOrd="6" destOrd="0" presId="urn:microsoft.com/office/officeart/2008/layout/VerticalCurvedList"/>
    <dgm:cxn modelId="{A8FDD2D2-AE06-4792-B7F0-B62E53E1A804}" type="presParOf" srcId="{512042CF-7831-48E4-B86F-75B4B2DD27E3}" destId="{95CA476E-0C3E-422B-8318-5865267F3ACD}" srcOrd="0" destOrd="0" presId="urn:microsoft.com/office/officeart/2008/layout/VerticalCurvedList"/>
    <dgm:cxn modelId="{BFB860E0-D238-40C5-92BD-BC25C6E341E5}" type="presParOf" srcId="{82280448-D9B6-4A73-B667-3E2D7D949265}" destId="{1178BF77-D28D-4929-9BD0-F60B7052B9A1}" srcOrd="7" destOrd="0" presId="urn:microsoft.com/office/officeart/2008/layout/VerticalCurvedList"/>
    <dgm:cxn modelId="{226B4E28-13C3-46BC-B960-A70A4D32BE5D}" type="presParOf" srcId="{82280448-D9B6-4A73-B667-3E2D7D949265}" destId="{74D24EB7-9968-434D-A8A0-4B47B4AC3523}" srcOrd="8" destOrd="0" presId="urn:microsoft.com/office/officeart/2008/layout/VerticalCurvedList"/>
    <dgm:cxn modelId="{76D79E36-5C9B-485C-B0C1-C99D2816EEAD}" type="presParOf" srcId="{74D24EB7-9968-434D-A8A0-4B47B4AC3523}" destId="{9F6D53BC-B7FD-4581-845B-9DE1F23B2376}" srcOrd="0" destOrd="0" presId="urn:microsoft.com/office/officeart/2008/layout/VerticalCurvedList"/>
    <dgm:cxn modelId="{507B4783-B199-42BB-89FE-8B40B78053C0}" type="presParOf" srcId="{82280448-D9B6-4A73-B667-3E2D7D949265}" destId="{2D22007D-1927-42D5-85C9-A2ADF9857C09}" srcOrd="9" destOrd="0" presId="urn:microsoft.com/office/officeart/2008/layout/VerticalCurvedList"/>
    <dgm:cxn modelId="{56EEC3E0-1181-47CA-81BA-A0AAADAC7E1B}" type="presParOf" srcId="{82280448-D9B6-4A73-B667-3E2D7D949265}" destId="{6225B9F2-720B-4FDD-93A5-89BD07E82D98}" srcOrd="10" destOrd="0" presId="urn:microsoft.com/office/officeart/2008/layout/VerticalCurvedList"/>
    <dgm:cxn modelId="{305F32F1-873B-4856-B7C1-3809147D71D9}" type="presParOf" srcId="{6225B9F2-720B-4FDD-93A5-89BD07E82D98}" destId="{372AFAE5-5FBB-4ACF-B28E-A0D1EA93AC3F}" srcOrd="0" destOrd="0" presId="urn:microsoft.com/office/officeart/2008/layout/VerticalCurvedList"/>
    <dgm:cxn modelId="{BAC51AF0-368A-4362-8C12-2E4452A7FC44}" type="presParOf" srcId="{82280448-D9B6-4A73-B667-3E2D7D949265}" destId="{6A012DA5-64AD-463C-8B94-3FB94FAAC7DA}" srcOrd="11" destOrd="0" presId="urn:microsoft.com/office/officeart/2008/layout/VerticalCurvedList"/>
    <dgm:cxn modelId="{4B8D7304-95AD-4DA3-8560-1FBABFE2CDAC}" type="presParOf" srcId="{82280448-D9B6-4A73-B667-3E2D7D949265}" destId="{65122D8F-B4D0-4AC6-8431-9F7F38EC29D6}" srcOrd="12" destOrd="0" presId="urn:microsoft.com/office/officeart/2008/layout/VerticalCurvedList"/>
    <dgm:cxn modelId="{9F495A1D-F910-4A14-A4D4-145A2A36DFB0}" type="presParOf" srcId="{65122D8F-B4D0-4AC6-8431-9F7F38EC29D6}" destId="{6683D336-F27C-4BB7-8F6E-D7980532EFA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8B385D-226B-4CA7-857F-4A9931969A46}" type="doc">
      <dgm:prSet loTypeId="urn:microsoft.com/office/officeart/2005/8/layout/pyramid4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80636E0-4DFC-483E-98A7-8AC2D77C9171}">
      <dgm:prSet phldrT="[Texto]" custT="1"/>
      <dgm:spPr>
        <a:solidFill>
          <a:schemeClr val="accent6">
            <a:lumMod val="50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  <a:latin typeface="Arial" panose="020B0604020202020204"/>
              <a:ea typeface="+mn-ea"/>
              <a:cs typeface="+mn-cs"/>
            </a:rPr>
            <a:t>Management Processing</a:t>
          </a: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</dgm:t>
    </dgm:pt>
    <dgm:pt modelId="{1FA6BA24-AB44-4FED-A321-EABD51B2C63D}" type="parTrans" cxnId="{F978C9A3-6004-4511-9241-BEDD09758CA5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B31F5E23-729D-4CA7-AA35-4CAB4B17C284}" type="sibTrans" cxnId="{F978C9A3-6004-4511-9241-BEDD09758CA5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E60CF393-2C05-43A7-A3C6-92A378C3FDB9}">
      <dgm:prSet phldrT="[Texto]" custT="1"/>
      <dgm:spPr>
        <a:solidFill>
          <a:srgbClr val="33D196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Inbound</a:t>
          </a: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ing</a:t>
          </a:r>
        </a:p>
      </dgm:t>
    </dgm:pt>
    <dgm:pt modelId="{90CD1A99-13CB-4967-BCA5-BEF1FEEC74CE}" type="parTrans" cxnId="{4025CD40-D776-42F6-8AF2-55D5A23327DD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F5F7C137-D583-494A-9E6A-30D8E5AEFC01}" type="sibTrans" cxnId="{4025CD40-D776-42F6-8AF2-55D5A23327DD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EFDF1281-0375-4BD9-9428-E00DDF603C47}">
      <dgm:prSet phldrT="[Texto]" custT="1"/>
      <dgm:spPr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accent4">
              <a:lumMod val="60000"/>
              <a:lumOff val="40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Storage Processing &amp; other states</a:t>
          </a:r>
        </a:p>
      </dgm:t>
    </dgm:pt>
    <dgm:pt modelId="{1B736DD6-BA58-4D2C-9286-AE9ADAA0DA90}" type="parTrans" cxnId="{3220613E-B203-4F0A-8564-7A4FA5187E9B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5A89E790-3C43-408B-B0F4-6551F03D7F60}" type="sibTrans" cxnId="{3220613E-B203-4F0A-8564-7A4FA5187E9B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444F08C1-027E-42E4-BDF7-B851502F3A98}">
      <dgm:prSet phldrT="[Texto]" custT="1"/>
      <dgm:spPr>
        <a:solidFill>
          <a:srgbClr val="00B0F0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Outbound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ing</a:t>
          </a:r>
        </a:p>
      </dgm:t>
    </dgm:pt>
    <dgm:pt modelId="{49096717-96B7-4685-904B-A8653D6C97CD}" type="parTrans" cxnId="{DA5A85E8-F161-4902-90E3-0E48AA5838EC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25E84F77-8B57-43EB-AC35-588751F9FBCA}" type="sibTrans" cxnId="{DA5A85E8-F161-4902-90E3-0E48AA5838EC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50EBD1A3-70A2-4DB8-8D62-414492D966F6}" type="pres">
      <dgm:prSet presAssocID="{678B385D-226B-4CA7-857F-4A9931969A46}" presName="compositeShape" presStyleCnt="0">
        <dgm:presLayoutVars>
          <dgm:chMax val="9"/>
          <dgm:dir/>
          <dgm:resizeHandles val="exact"/>
        </dgm:presLayoutVars>
      </dgm:prSet>
      <dgm:spPr/>
    </dgm:pt>
    <dgm:pt modelId="{E930FFF3-CF03-40C7-A503-5889ECAA1568}" type="pres">
      <dgm:prSet presAssocID="{678B385D-226B-4CA7-857F-4A9931969A46}" presName="triangle1" presStyleLbl="node1" presStyleIdx="0" presStyleCnt="4">
        <dgm:presLayoutVars>
          <dgm:bulletEnabled val="1"/>
        </dgm:presLayoutVars>
      </dgm:prSet>
      <dgm:spPr>
        <a:xfrm>
          <a:off x="5449205" y="0"/>
          <a:ext cx="2656303" cy="2656303"/>
        </a:xfrm>
        <a:prstGeom prst="triangle">
          <a:avLst/>
        </a:prstGeom>
      </dgm:spPr>
    </dgm:pt>
    <dgm:pt modelId="{AF7830E6-7326-4ECB-9913-E23CC573A1B3}" type="pres">
      <dgm:prSet presAssocID="{678B385D-226B-4CA7-857F-4A9931969A46}" presName="triangle2" presStyleLbl="node1" presStyleIdx="1" presStyleCnt="4">
        <dgm:presLayoutVars>
          <dgm:bulletEnabled val="1"/>
        </dgm:presLayoutVars>
      </dgm:prSet>
      <dgm:spPr>
        <a:xfrm>
          <a:off x="4121053" y="2656303"/>
          <a:ext cx="2656303" cy="2656303"/>
        </a:xfrm>
        <a:prstGeom prst="triangle">
          <a:avLst/>
        </a:prstGeom>
      </dgm:spPr>
    </dgm:pt>
    <dgm:pt modelId="{E49DFCEF-BEC5-4C49-8798-D034FD12E709}" type="pres">
      <dgm:prSet presAssocID="{678B385D-226B-4CA7-857F-4A9931969A46}" presName="triangle3" presStyleLbl="node1" presStyleIdx="2" presStyleCnt="4">
        <dgm:presLayoutVars>
          <dgm:bulletEnabled val="1"/>
        </dgm:presLayoutVars>
      </dgm:prSet>
      <dgm:spPr>
        <a:xfrm rot="10800000">
          <a:off x="5449205" y="2656303"/>
          <a:ext cx="2656303" cy="2656303"/>
        </a:xfrm>
        <a:prstGeom prst="triangle">
          <a:avLst/>
        </a:prstGeom>
      </dgm:spPr>
    </dgm:pt>
    <dgm:pt modelId="{BAB71A2E-3E41-499D-9E6A-CDE125F77BF9}" type="pres">
      <dgm:prSet presAssocID="{678B385D-226B-4CA7-857F-4A9931969A46}" presName="triangle4" presStyleLbl="node1" presStyleIdx="3" presStyleCnt="4">
        <dgm:presLayoutVars>
          <dgm:bulletEnabled val="1"/>
        </dgm:presLayoutVars>
      </dgm:prSet>
      <dgm:spPr>
        <a:xfrm>
          <a:off x="6777357" y="2656303"/>
          <a:ext cx="2656303" cy="2656303"/>
        </a:xfrm>
        <a:prstGeom prst="triangle">
          <a:avLst/>
        </a:prstGeom>
      </dgm:spPr>
    </dgm:pt>
  </dgm:ptLst>
  <dgm:cxnLst>
    <dgm:cxn modelId="{3220613E-B203-4F0A-8564-7A4FA5187E9B}" srcId="{678B385D-226B-4CA7-857F-4A9931969A46}" destId="{EFDF1281-0375-4BD9-9428-E00DDF603C47}" srcOrd="2" destOrd="0" parTransId="{1B736DD6-BA58-4D2C-9286-AE9ADAA0DA90}" sibTransId="{5A89E790-3C43-408B-B0F4-6551F03D7F60}"/>
    <dgm:cxn modelId="{4025CD40-D776-42F6-8AF2-55D5A23327DD}" srcId="{678B385D-226B-4CA7-857F-4A9931969A46}" destId="{E60CF393-2C05-43A7-A3C6-92A378C3FDB9}" srcOrd="1" destOrd="0" parTransId="{90CD1A99-13CB-4967-BCA5-BEF1FEEC74CE}" sibTransId="{F5F7C137-D583-494A-9E6A-30D8E5AEFC01}"/>
    <dgm:cxn modelId="{5EC1A986-4893-44C9-9AE8-572134702FD7}" type="presOf" srcId="{EFDF1281-0375-4BD9-9428-E00DDF603C47}" destId="{E49DFCEF-BEC5-4C49-8798-D034FD12E709}" srcOrd="0" destOrd="0" presId="urn:microsoft.com/office/officeart/2005/8/layout/pyramid4"/>
    <dgm:cxn modelId="{06526C93-089D-4F1B-869A-1B3A12B1DC5B}" type="presOf" srcId="{480636E0-4DFC-483E-98A7-8AC2D77C9171}" destId="{E930FFF3-CF03-40C7-A503-5889ECAA1568}" srcOrd="0" destOrd="0" presId="urn:microsoft.com/office/officeart/2005/8/layout/pyramid4"/>
    <dgm:cxn modelId="{31E2CC9A-5AB3-41C5-9CF0-C39A7EA60929}" type="presOf" srcId="{444F08C1-027E-42E4-BDF7-B851502F3A98}" destId="{BAB71A2E-3E41-499D-9E6A-CDE125F77BF9}" srcOrd="0" destOrd="0" presId="urn:microsoft.com/office/officeart/2005/8/layout/pyramid4"/>
    <dgm:cxn modelId="{F978C9A3-6004-4511-9241-BEDD09758CA5}" srcId="{678B385D-226B-4CA7-857F-4A9931969A46}" destId="{480636E0-4DFC-483E-98A7-8AC2D77C9171}" srcOrd="0" destOrd="0" parTransId="{1FA6BA24-AB44-4FED-A321-EABD51B2C63D}" sibTransId="{B31F5E23-729D-4CA7-AA35-4CAB4B17C284}"/>
    <dgm:cxn modelId="{DBC6E2A6-17C8-4402-BF25-E206B57C4EB2}" type="presOf" srcId="{E60CF393-2C05-43A7-A3C6-92A378C3FDB9}" destId="{AF7830E6-7326-4ECB-9913-E23CC573A1B3}" srcOrd="0" destOrd="0" presId="urn:microsoft.com/office/officeart/2005/8/layout/pyramid4"/>
    <dgm:cxn modelId="{DA5A85E8-F161-4902-90E3-0E48AA5838EC}" srcId="{678B385D-226B-4CA7-857F-4A9931969A46}" destId="{444F08C1-027E-42E4-BDF7-B851502F3A98}" srcOrd="3" destOrd="0" parTransId="{49096717-96B7-4685-904B-A8653D6C97CD}" sibTransId="{25E84F77-8B57-43EB-AC35-588751F9FBCA}"/>
    <dgm:cxn modelId="{7664F4FD-52D6-4019-B884-3C0D5A3CF3E1}" type="presOf" srcId="{678B385D-226B-4CA7-857F-4A9931969A46}" destId="{50EBD1A3-70A2-4DB8-8D62-414492D966F6}" srcOrd="0" destOrd="0" presId="urn:microsoft.com/office/officeart/2005/8/layout/pyramid4"/>
    <dgm:cxn modelId="{81C4AF67-9E55-4D69-A2E6-0F79CB771F3D}" type="presParOf" srcId="{50EBD1A3-70A2-4DB8-8D62-414492D966F6}" destId="{E930FFF3-CF03-40C7-A503-5889ECAA1568}" srcOrd="0" destOrd="0" presId="urn:microsoft.com/office/officeart/2005/8/layout/pyramid4"/>
    <dgm:cxn modelId="{60616C0B-1D33-4B8D-B1C3-681157C77E7D}" type="presParOf" srcId="{50EBD1A3-70A2-4DB8-8D62-414492D966F6}" destId="{AF7830E6-7326-4ECB-9913-E23CC573A1B3}" srcOrd="1" destOrd="0" presId="urn:microsoft.com/office/officeart/2005/8/layout/pyramid4"/>
    <dgm:cxn modelId="{A2854B7C-5AE4-4CDF-A488-69B23A85C450}" type="presParOf" srcId="{50EBD1A3-70A2-4DB8-8D62-414492D966F6}" destId="{E49DFCEF-BEC5-4C49-8798-D034FD12E709}" srcOrd="2" destOrd="0" presId="urn:microsoft.com/office/officeart/2005/8/layout/pyramid4"/>
    <dgm:cxn modelId="{B8E634CA-C616-4C7F-805F-317C93CE2C9A}" type="presParOf" srcId="{50EBD1A3-70A2-4DB8-8D62-414492D966F6}" destId="{BAB71A2E-3E41-499D-9E6A-CDE125F77BF9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247F0A-9AE9-4958-88CF-19349929C5BC}">
      <dsp:nvSpPr>
        <dsp:cNvPr id="0" name=""/>
        <dsp:cNvSpPr/>
      </dsp:nvSpPr>
      <dsp:spPr>
        <a:xfrm>
          <a:off x="-6246905" y="-955642"/>
          <a:ext cx="7435949" cy="7435949"/>
        </a:xfrm>
        <a:prstGeom prst="blockArc">
          <a:avLst>
            <a:gd name="adj1" fmla="val 18900000"/>
            <a:gd name="adj2" fmla="val 2700000"/>
            <a:gd name="adj3" fmla="val 29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5CAAE5-D7B1-4173-A17C-33CC79E0B455}">
      <dsp:nvSpPr>
        <dsp:cNvPr id="0" name=""/>
        <dsp:cNvSpPr/>
      </dsp:nvSpPr>
      <dsp:spPr>
        <a:xfrm>
          <a:off x="442719" y="285336"/>
          <a:ext cx="7654921" cy="592821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1674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1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Brindar estándares </a:t>
          </a:r>
          <a:r>
            <a:rPr lang="es-ES" sz="1400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que permitan operar eficientemente dentro de los,Warehouses de LAO, asegurando la Trazabilidad dentro de toda la cadena de Suministro (E2E).</a:t>
          </a:r>
          <a:endParaRPr lang="en-US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42719" y="285336"/>
        <a:ext cx="7654921" cy="592821"/>
      </dsp:txXfrm>
    </dsp:sp>
    <dsp:sp modelId="{2736CA83-D2D5-43E9-BD08-A13DD1B413C0}">
      <dsp:nvSpPr>
        <dsp:cNvPr id="0" name=""/>
        <dsp:cNvSpPr/>
      </dsp:nvSpPr>
      <dsp:spPr>
        <a:xfrm>
          <a:off x="79196" y="218224"/>
          <a:ext cx="727045" cy="72704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D96FDB-D540-440D-B647-D935BF7AA737}">
      <dsp:nvSpPr>
        <dsp:cNvPr id="0" name=""/>
        <dsp:cNvSpPr/>
      </dsp:nvSpPr>
      <dsp:spPr>
        <a:xfrm>
          <a:off x="921155" y="1108113"/>
          <a:ext cx="7176485" cy="597509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1674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Contemplar cierta </a:t>
          </a:r>
          <a:r>
            <a:rPr lang="es-ES" sz="1400" b="1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flexibilidad en los procesos </a:t>
          </a:r>
          <a:r>
            <a:rPr lang="es-ES" sz="1400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para  soportar futuros cambios, transformaciones y crecimientos del negocio</a:t>
          </a:r>
          <a:endParaRPr lang="en-US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21155" y="1108113"/>
        <a:ext cx="7176485" cy="597509"/>
      </dsp:txXfrm>
    </dsp:sp>
    <dsp:sp modelId="{D418B5BE-B21E-4046-A0AD-023429D3C79F}">
      <dsp:nvSpPr>
        <dsp:cNvPr id="0" name=""/>
        <dsp:cNvSpPr/>
      </dsp:nvSpPr>
      <dsp:spPr>
        <a:xfrm>
          <a:off x="557632" y="1090568"/>
          <a:ext cx="727045" cy="72704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8F61EA-ACDF-4023-9D8E-C56B5C1562CC}">
      <dsp:nvSpPr>
        <dsp:cNvPr id="0" name=""/>
        <dsp:cNvSpPr/>
      </dsp:nvSpPr>
      <dsp:spPr>
        <a:xfrm>
          <a:off x="1139932" y="1979699"/>
          <a:ext cx="6957708" cy="69347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1674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Brindar estándares que permitan </a:t>
          </a:r>
          <a:r>
            <a:rPr lang="es-ES" sz="1400" b="1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medir la productividad/ eficiencia </a:t>
          </a:r>
          <a:r>
            <a:rPr lang="es-ES" sz="1400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en cada DC.</a:t>
          </a:r>
          <a:endParaRPr lang="en-US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139932" y="1979699"/>
        <a:ext cx="6957708" cy="693473"/>
      </dsp:txXfrm>
    </dsp:sp>
    <dsp:sp modelId="{95CA476E-0C3E-422B-8318-5865267F3ACD}">
      <dsp:nvSpPr>
        <dsp:cNvPr id="0" name=""/>
        <dsp:cNvSpPr/>
      </dsp:nvSpPr>
      <dsp:spPr>
        <a:xfrm>
          <a:off x="776409" y="1962913"/>
          <a:ext cx="727045" cy="72704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78BF77-D28D-4929-9BD0-F60B7052B9A1}">
      <dsp:nvSpPr>
        <dsp:cNvPr id="0" name=""/>
        <dsp:cNvSpPr/>
      </dsp:nvSpPr>
      <dsp:spPr>
        <a:xfrm>
          <a:off x="1139932" y="2828319"/>
          <a:ext cx="6957708" cy="73981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1674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Desarrollar soluciones bajo las </a:t>
          </a:r>
          <a:r>
            <a:rPr lang="es-ES" sz="1400" b="1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mejores prácticas de operaciones de almacenes y equipamientos</a:t>
          </a:r>
          <a:r>
            <a:rPr lang="es-ES" sz="1400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. Esto implica minimizar movimientos, interrupciones de flujos y cuellos de botella/ complejidad operativa. </a:t>
          </a:r>
          <a:endParaRPr lang="en-US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139932" y="2828319"/>
        <a:ext cx="6957708" cy="739818"/>
      </dsp:txXfrm>
    </dsp:sp>
    <dsp:sp modelId="{9F6D53BC-B7FD-4581-845B-9DE1F23B2376}">
      <dsp:nvSpPr>
        <dsp:cNvPr id="0" name=""/>
        <dsp:cNvSpPr/>
      </dsp:nvSpPr>
      <dsp:spPr>
        <a:xfrm>
          <a:off x="776409" y="2834705"/>
          <a:ext cx="727045" cy="72704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22007D-1927-42D5-85C9-A2ADF9857C09}">
      <dsp:nvSpPr>
        <dsp:cNvPr id="0" name=""/>
        <dsp:cNvSpPr/>
      </dsp:nvSpPr>
      <dsp:spPr>
        <a:xfrm>
          <a:off x="921155" y="3693879"/>
          <a:ext cx="7176485" cy="7019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1674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Incluir </a:t>
          </a:r>
          <a:r>
            <a:rPr lang="es-ES" sz="1400" b="1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Normas y estándares de seguridad y calidad </a:t>
          </a:r>
          <a:r>
            <a:rPr lang="es-ES" sz="1400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para garantizar que los Warehouses trabajen  en forma Segura y con las normas de Calidad establecidas por KC LAO</a:t>
          </a:r>
          <a:endParaRPr lang="en-US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21155" y="3693879"/>
        <a:ext cx="7176485" cy="701983"/>
      </dsp:txXfrm>
    </dsp:sp>
    <dsp:sp modelId="{372AFAE5-5FBB-4ACF-B28E-A0D1EA93AC3F}">
      <dsp:nvSpPr>
        <dsp:cNvPr id="0" name=""/>
        <dsp:cNvSpPr/>
      </dsp:nvSpPr>
      <dsp:spPr>
        <a:xfrm>
          <a:off x="557632" y="3707050"/>
          <a:ext cx="727045" cy="72704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012DA5-64AD-463C-8B94-3FB94FAAC7DA}">
      <dsp:nvSpPr>
        <dsp:cNvPr id="0" name=""/>
        <dsp:cNvSpPr/>
      </dsp:nvSpPr>
      <dsp:spPr>
        <a:xfrm>
          <a:off x="442719" y="4652099"/>
          <a:ext cx="7654921" cy="58163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1674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Un </a:t>
          </a:r>
          <a:r>
            <a:rPr lang="es-ES" sz="1400" b="1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enfoque consistente y repetible </a:t>
          </a:r>
          <a:r>
            <a:rPr lang="es-ES" sz="1400" kern="12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rPr>
            <a:t>con especificaciones de operaciones  de almacenes</a:t>
          </a:r>
          <a:endParaRPr lang="en-US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42719" y="4652099"/>
        <a:ext cx="7654921" cy="581636"/>
      </dsp:txXfrm>
    </dsp:sp>
    <dsp:sp modelId="{6683D336-F27C-4BB7-8F6E-D7980532EFA5}">
      <dsp:nvSpPr>
        <dsp:cNvPr id="0" name=""/>
        <dsp:cNvSpPr/>
      </dsp:nvSpPr>
      <dsp:spPr>
        <a:xfrm>
          <a:off x="79196" y="4579394"/>
          <a:ext cx="727045" cy="72704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30FFF3-CF03-40C7-A503-5889ECAA1568}">
      <dsp:nvSpPr>
        <dsp:cNvPr id="0" name=""/>
        <dsp:cNvSpPr/>
      </dsp:nvSpPr>
      <dsp:spPr>
        <a:xfrm>
          <a:off x="5672223" y="0"/>
          <a:ext cx="1998576" cy="1998576"/>
        </a:xfrm>
        <a:prstGeom prst="triangle">
          <a:avLst/>
        </a:prstGeom>
        <a:solidFill>
          <a:schemeClr val="accent6">
            <a:lumMod val="50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  <a:latin typeface="Arial" panose="020B0604020202020204"/>
              <a:ea typeface="+mn-ea"/>
              <a:cs typeface="+mn-cs"/>
            </a:rPr>
            <a:t>Management Processing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</dsp:txBody>
      <dsp:txXfrm>
        <a:off x="6171867" y="999288"/>
        <a:ext cx="999288" cy="999288"/>
      </dsp:txXfrm>
    </dsp:sp>
    <dsp:sp modelId="{AF7830E6-7326-4ECB-9913-E23CC573A1B3}">
      <dsp:nvSpPr>
        <dsp:cNvPr id="0" name=""/>
        <dsp:cNvSpPr/>
      </dsp:nvSpPr>
      <dsp:spPr>
        <a:xfrm>
          <a:off x="4672935" y="1998576"/>
          <a:ext cx="1998576" cy="1998576"/>
        </a:xfrm>
        <a:prstGeom prst="triangle">
          <a:avLst/>
        </a:prstGeom>
        <a:solidFill>
          <a:srgbClr val="33D196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Inbound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ing</a:t>
          </a:r>
        </a:p>
      </dsp:txBody>
      <dsp:txXfrm>
        <a:off x="5172579" y="2997864"/>
        <a:ext cx="999288" cy="999288"/>
      </dsp:txXfrm>
    </dsp:sp>
    <dsp:sp modelId="{E49DFCEF-BEC5-4C49-8798-D034FD12E709}">
      <dsp:nvSpPr>
        <dsp:cNvPr id="0" name=""/>
        <dsp:cNvSpPr/>
      </dsp:nvSpPr>
      <dsp:spPr>
        <a:xfrm rot="10800000">
          <a:off x="5672223" y="1998576"/>
          <a:ext cx="1998576" cy="1998576"/>
        </a:xfrm>
        <a:prstGeom prst="triangle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accent4">
              <a:lumMod val="60000"/>
              <a:lumOff val="40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Storage Processing &amp; other states</a:t>
          </a:r>
        </a:p>
      </dsp:txBody>
      <dsp:txXfrm rot="10800000">
        <a:off x="6171867" y="1998576"/>
        <a:ext cx="999288" cy="999288"/>
      </dsp:txXfrm>
    </dsp:sp>
    <dsp:sp modelId="{BAB71A2E-3E41-499D-9E6A-CDE125F77BF9}">
      <dsp:nvSpPr>
        <dsp:cNvPr id="0" name=""/>
        <dsp:cNvSpPr/>
      </dsp:nvSpPr>
      <dsp:spPr>
        <a:xfrm>
          <a:off x="6671511" y="1998576"/>
          <a:ext cx="1998576" cy="1998576"/>
        </a:xfrm>
        <a:prstGeom prst="triangle">
          <a:avLst/>
        </a:prstGeom>
        <a:solidFill>
          <a:srgbClr val="00B0F0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Outbound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ing</a:t>
          </a:r>
        </a:p>
      </dsp:txBody>
      <dsp:txXfrm>
        <a:off x="7171155" y="2997864"/>
        <a:ext cx="999288" cy="9992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233EFA-AED8-4A41-BBE0-6BF78EE0F8E0}" type="datetimeFigureOut">
              <a:rPr lang="es-AR" smtClean="0"/>
              <a:t>1/3/2021</a:t>
            </a:fld>
            <a:endParaRPr lang="es-A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A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0986E1-ACAD-4B7D-B591-DB24A0A3C47A}" type="slidenum">
              <a:rPr lang="es-AR" smtClean="0"/>
              <a:t>‹Nº›</a:t>
            </a:fld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3862147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880FD3-CD2A-8C4E-B84F-94E080745D4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624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3284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89974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96418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26398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6919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32905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7806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744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4C19AC2-94A0-46E3-BDDE-FB1B5E35CE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54DE4E6-20D3-4295-81E0-8EB0295AAF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D06D592-A0A4-42A3-A1FC-4C3D2E057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8E7FE2F-51F5-427B-A63C-EE232B78AC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65A9700-4BCB-4624-A7DD-5340E8467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067443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4FEB1D-AF7B-4738-9FAE-E6E15453E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82FFB72-4BF0-4424-8677-3CCAE1B5CC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5AABC09-20F9-4E4A-B6A7-49A5E5EE1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48EB4EB-80CB-4773-AF7C-D771B53E9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80C98CC-44AD-4861-8161-D9752A7DA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141480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08623B0A-240B-42D1-BE58-2EFC3F09D6D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06B46B1-3B1A-4089-A405-CB0129410B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F9E2932-7017-4895-A2AB-FAC206197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21E60E-BB72-4308-930E-69D146B8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5AC209D-56CB-47EE-9D0E-066E8BECC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901018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A226D34-6D49-448F-9993-2A44520E64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49E9032-C41D-4BFD-9EBA-728BD1DB4F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8B64E09-1C66-439A-A0B7-F64139B29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703344C-EDE3-4137-9FE1-DF0789064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F015378-B6F4-4DD1-A9AD-52913E05BD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360014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332016-4209-416C-BD8A-0D1A85C3D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13C6D74-E510-4653-8167-66BA69DED0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B398293-0911-48B2-84B0-54BF41CA9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D692E59-BBA6-4B11-A2DB-C4A5A975D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10A5778-299C-493A-AFB0-D33009FA8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076475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CF1FC2-6B2A-4188-843F-D2BBD98EE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E3537B6-C82C-4D6D-A9D0-E56914E635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3520FB3-86C4-4C61-96E0-F1AC05418B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7ACA786-FF0F-408D-AA38-289437FC2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21AC6FD-91E6-4480-86EA-CCC584F82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628487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4CE024E-7E30-4AE7-82F6-077426130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78ECFA2-51F8-4806-8372-72FBDCC042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17B6A13-7F46-4ED6-BCB0-D501E3A92F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FFC866D-2548-420A-A322-FC498D863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461399D-3C10-42B5-9132-5A052FF609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EA77A2F-E89A-4098-9D2B-133007DE9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111055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5E0786-B27E-4FC3-9F25-EB4371E14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626534C-38C7-4B51-9F0E-B7432FDE5B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72746EF-BEF8-4106-AB06-FD2082EC0F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D8EF79C0-CD81-468D-90A5-DD43A122DD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D7EB4155-0E9C-4081-8234-CDB26B2AA6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10372B5-9AE6-4E64-88CD-B0640202A7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F3CF5417-E862-42A6-9FC5-68EA3579E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2EB37315-75D2-48E9-A71A-D827D0087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210946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4922333-A7FA-41AA-A26C-8F7D4E4DC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E2E7D11-4E4E-4DC1-AF71-21D6F894C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75F8EF5-2D0C-4409-B64A-42E8CBBF4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EF849AB-0651-468E-B095-33B94A58C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343328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A6F8ACC5-479D-4645-9E5C-03A16E54B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B9B21EA2-8EB3-4700-A504-84344641B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71AEE90-92E6-4C20-8F58-5B1E0F85A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517020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547B2A-96CE-4F63-8DCF-F756E5110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42F67C7-4B23-4122-9878-01E15CEF0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F023EEF-94D9-48A6-B38E-812AFAC126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05B5053-E2B5-4B09-8E92-5252E91705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87CCEC2-9294-4322-A8CA-042518449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02572BE-BAB0-409F-B89D-771207007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8955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B7CE68-09DA-4698-93FA-36B98981A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43AD844-4E14-4D58-8B77-DF6AE0ECB2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17DE40B-BF37-4EF0-8AC4-9D2C0743F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228C21E-3F6F-4B83-8F2B-2ADA1FE89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91F976D-E004-44EA-A02A-39D0ABBA4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419645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1E2744-F327-47BD-9971-129CF9C66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CFC030DF-382B-4D26-9627-D8A32757F45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73BC677-8240-47B2-AF8B-FDDC920152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3E94B90-D272-4DA4-8F40-955BFB7A25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7C1A5D5-988E-4E56-AD2A-8B59072227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CD45A51-6511-442A-A9EA-5E1614FE25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833465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E43D9FC-CB11-476B-9BC0-7A87A5766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598C448-5499-40D2-B4A4-5C0EE2CFA5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ED89AB1-ECAA-405E-93BB-F57B705D69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757FA52-A89F-4B6D-A1D4-93B82CEB8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32CCD71-45F4-4FD1-B0DC-8CB7CF923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900905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7B6B4CF-4CD2-4620-8A9A-D748D87D9D8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0956D0E-BDA2-4113-81F4-984541981A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F31699E-8C91-4684-B68E-5B7C560DB0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0F44E7B-F15C-4104-86EE-96A474090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34B0E22-408C-41C4-AF34-7A71ECF5F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400378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733962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180302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468499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872792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34770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32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0975" y="127001"/>
            <a:ext cx="11839576" cy="10541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656821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726778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131A98-39B0-4A70-8E34-54F615A58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1C419B8-0450-485D-B747-31FD5EE3A0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7B0039E-3177-4AEA-8556-C6B5A0F7E4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4E3EBC1-933D-4B0F-8BD7-A78267B03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7E50517-3C99-45F5-A58C-5081457F9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567439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792197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84788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952924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533654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48552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9F806-7B2B-402D-BF57-0795A5560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9F806-7B2B-402D-BF57-0795A5560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DBD6F-66CB-4B71-9200-9138DAA9E5C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46234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D7798-8550-4E42-83AF-A41883ED2591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A463D-D2B9-534F-8AF7-13A264943A2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767098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34737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686DCD-966A-4CD8-B214-73988935E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7887F4-7302-4A0B-AA8E-C10DCC64FD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95401"/>
            <a:ext cx="10972800" cy="483076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80090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12"/>
            <a:ext cx="12195050" cy="68562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8369" y="2336800"/>
            <a:ext cx="5788152" cy="2091087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8369" y="4427887"/>
            <a:ext cx="5789202" cy="128551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1292" y="6366637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3E7FBFD-78E1-42FB-85FC-D9CE5E3DEFA5}" type="slidenum">
              <a:rPr lang="en-US" smtClean="0">
                <a:solidFill>
                  <a:srgbClr val="10069F"/>
                </a:solidFill>
              </a:rPr>
              <a:pPr/>
              <a:t>‹Nº›</a:t>
            </a:fld>
            <a:endParaRPr lang="en-US" dirty="0">
              <a:solidFill>
                <a:srgbClr val="10069F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accent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accent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1548195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6DD583-A87A-4C11-A465-FB470AA7B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EBFB355-0CC9-4669-86F8-446EE0A44D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A4C5696-EE2B-466F-AD1E-20BF4DDE53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082DEAB-753E-4B96-857B-A5F52822E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97540C8-2765-4E2B-A2FC-FA4238BCA5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BDA55DA-2D5E-49DD-BE9E-83616672D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982221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4661A9-7204-445B-936C-7D2DD539C7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4661A9-7204-445B-936C-7D2DD539C7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535E5E0-A063-4CF4-9ED9-43E2E5CCC8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68696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9F806-7B2B-402D-BF57-0795A5560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9F806-7B2B-402D-BF57-0795A5560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DBD6F-66CB-4B71-9200-9138DAA9E5C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52289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06676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164234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538826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9550154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343413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294272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32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0975" y="127001"/>
            <a:ext cx="11839576" cy="10541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15267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692369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14CE06F-722D-4DE3-BF23-A16E218FA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4ABD602-7887-49E2-B420-88E4F2298D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C5BC9D9-19D2-45BE-BF59-4A1B37D64A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E0EA0A7-5751-42C4-99BA-F3C025A7FD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B008C95-8CE6-4472-997E-8DFF9B842A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252E926-4B7A-40D2-B760-06C074AF1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B07A2F7-BA06-4221-9350-AF735F331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505DD545-1630-4D47-A47D-546735CAE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159564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204706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90906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7883806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399608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197970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9F806-7B2B-402D-BF57-0795A5560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9F806-7B2B-402D-BF57-0795A5560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DBD6F-66CB-4B71-9200-9138DAA9E5C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216655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yboo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68725" y="1324610"/>
            <a:ext cx="11142556" cy="4710748"/>
          </a:xfrm>
        </p:spPr>
        <p:txBody>
          <a:bodyPr/>
          <a:lstStyle>
            <a:lvl2pPr marL="358775" indent="-176213">
              <a:buFont typeface="Arial" panose="020B0604020202020204" pitchFamily="34" charset="0"/>
              <a:buChar char="-"/>
              <a:tabLst>
                <a:tab pos="358775" algn="l"/>
              </a:tabLst>
              <a:defRPr sz="1800"/>
            </a:lvl2pPr>
            <a:lvl3pPr marL="541338" indent="-182563">
              <a:defRPr sz="1600"/>
            </a:lvl3pPr>
            <a:lvl4pPr marL="715963" indent="-174625">
              <a:defRPr sz="1600"/>
            </a:lvl4pPr>
            <a:lvl5pPr marL="898525" indent="-182563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6" name="Title 5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519183" y="6492240"/>
            <a:ext cx="487680" cy="27432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ctr">
              <a:defRPr sz="9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8C9EFAC-D52E-4ABF-945B-836139D00783}" type="slidenum">
              <a:rPr lang="en-AU" kern="0" smtClean="0">
                <a:solidFill>
                  <a:srgbClr val="C25327"/>
                </a:solidFill>
              </a:rPr>
              <a:pPr>
                <a:defRPr/>
              </a:pPr>
              <a:t>‹Nº›</a:t>
            </a:fld>
            <a:endParaRPr lang="en-AU" kern="0" dirty="0">
              <a:solidFill>
                <a:srgbClr val="C25327"/>
              </a:solidFill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5757" y="0"/>
            <a:ext cx="11826243" cy="228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900" baseline="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en-US" dirty="0">
                <a:latin typeface="Arial"/>
                <a:cs typeface="Arial"/>
              </a:rPr>
              <a:t>Leadership Playbook   			      1. Purpose</a:t>
            </a:r>
          </a:p>
        </p:txBody>
      </p:sp>
    </p:spTree>
    <p:extLst>
      <p:ext uri="{BB962C8B-B14F-4D97-AF65-F5344CB8AC3E}">
        <p14:creationId xmlns:p14="http://schemas.microsoft.com/office/powerpoint/2010/main" val="3988251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311072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952722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19068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F33D10-5C45-47F5-AAFF-ACA2A102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1758764-E2BB-4082-9A9F-C6A6AF200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0DACB40-79B6-4D18-92E9-2F80630D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7E9EF8A-373C-4B77-8AA9-D0C868380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0893374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2744330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182536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0710652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046167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252096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6440669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6246617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90746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18A98F7F-DE9D-4022-A2BB-2146A0A3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A2D3D89-C828-4EF5-B7D2-B7670B0CF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677264F7-6FAC-4EC6-B131-026BF2E8E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941611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C22E03-2F48-4C91-B919-848F1003B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48228C-7D1C-4B68-A1A4-4E9531317B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C19DA7-5239-4461-B253-6749C3D42D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8A06EF9-368B-4EF4-9A12-8147E4E1B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1485D1F-932E-4163-90E9-421A7C29D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18BF014-CC75-4DEE-AA9F-706CC1DB9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286057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1936C34-DCE4-446D-A105-EF182B795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030FB3AD-83F2-494E-87EF-47F3877930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98D57D9-D114-442A-A83F-B517DD1780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AFD0395-EDF2-4FE7-BA68-1F699E7C6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CCB6F54-39C9-447E-9D5F-F077AAE36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4D455A4-3B10-4877-AFA3-503E064803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758751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microsoft.com/office/2007/relationships/hdphoto" Target="../media/hdphoto1.wdp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image" Target="../media/image5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3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3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40.xm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39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45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44.xml"/><Relationship Id="rId16" Type="http://schemas.openxmlformats.org/officeDocument/2006/relationships/vmlDrawing" Target="../drawings/vmlDrawing8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2.xml"/><Relationship Id="rId19" Type="http://schemas.openxmlformats.org/officeDocument/2006/relationships/oleObject" Target="../embeddings/oleObject8.bin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image" Target="../media/image7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vmlDrawing" Target="../drawings/vmlDrawing1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59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58.xml"/><Relationship Id="rId16" Type="http://schemas.openxmlformats.org/officeDocument/2006/relationships/oleObject" Target="../embeddings/oleObject11.bin"/><Relationship Id="rId20" Type="http://schemas.microsoft.com/office/2007/relationships/hdphoto" Target="../media/hdphoto1.wdp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tags" Target="../tags/tag22.xml"/><Relationship Id="rId10" Type="http://schemas.openxmlformats.org/officeDocument/2006/relationships/slideLayout" Target="../slideLayouts/slideLayout66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tags" Target="../tags/tag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92E144-DA1A-4D36-B236-F727F085E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13748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92E144-DA1A-4D36-B236-F727F085E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8892AA-B66E-476D-96A1-B4D7B543925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5DC5B52-2491-43CB-A5AD-5BDA7D63CA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FC6177-DAD1-41F1-A77D-80013BB6A192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383ECB1-B70A-4EAA-9B33-8797B2BCD5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27E491F-1F75-4371-8BBB-0493FB4BD0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  <p:sp>
        <p:nvSpPr>
          <p:cNvPr id="7" name="Espaço Reservado para Título 1">
            <a:extLst>
              <a:ext uri="{FF2B5EF4-FFF2-40B4-BE49-F238E27FC236}">
                <a16:creationId xmlns:a16="http://schemas.microsoft.com/office/drawing/2014/main" id="{FC867436-2095-4BD7-9401-1EC96E6713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32" y="1178420"/>
            <a:ext cx="4565073" cy="17324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234D6BC4-3F5A-40B2-A333-ADD8D93CF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132" y="3128481"/>
            <a:ext cx="5257800" cy="2914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27EBFEE1-DF9C-4315-A0DB-97F1E0EF62B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93132" y="13667"/>
            <a:ext cx="3431259" cy="1075323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02A93D9E-4AF0-4F01-95EB-5055FAF12DFC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213816" y="0"/>
            <a:ext cx="6978184" cy="6857999"/>
          </a:xfrm>
          <a:prstGeom prst="rect">
            <a:avLst/>
          </a:prstGeom>
        </p:spPr>
      </p:pic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1588700" y="5663084"/>
            <a:ext cx="1546299" cy="960856"/>
            <a:chOff x="2510307" y="2891970"/>
            <a:chExt cx="5297533" cy="3291840"/>
          </a:xfrm>
        </p:grpSpPr>
        <p:sp>
          <p:nvSpPr>
            <p:cNvPr id="12" name="Oval 11"/>
            <p:cNvSpPr/>
            <p:nvPr/>
          </p:nvSpPr>
          <p:spPr>
            <a:xfrm>
              <a:off x="4516000" y="2891970"/>
              <a:ext cx="3291840" cy="329184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3" name="Picture 2" descr="Resultado de imagen para latin america map icon"/>
            <p:cNvPicPr>
              <a:picLocks noChangeAspect="1" noChangeArrowheads="1"/>
            </p:cNvPicPr>
            <p:nvPr/>
          </p:nvPicPr>
          <p:blipFill>
            <a:blip r:embed="rId2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6000" y="2986589"/>
              <a:ext cx="3102602" cy="3102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Oval 13"/>
            <p:cNvSpPr/>
            <p:nvPr/>
          </p:nvSpPr>
          <p:spPr>
            <a:xfrm>
              <a:off x="2510307" y="2891970"/>
              <a:ext cx="3291840" cy="3291840"/>
            </a:xfrm>
            <a:prstGeom prst="ellipse">
              <a:avLst/>
            </a:prstGeom>
            <a:solidFill>
              <a:srgbClr val="056CDD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5" name="Picture 2" descr="Imagen relacionada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2870080" y="3148874"/>
              <a:ext cx="2572294" cy="25722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extBox 15"/>
          <p:cNvSpPr txBox="1"/>
          <p:nvPr userDrawn="1"/>
        </p:nvSpPr>
        <p:spPr>
          <a:xfrm>
            <a:off x="3059026" y="5572801"/>
            <a:ext cx="26553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Fungo" panose="02000000000000000000" pitchFamily="50" charset="0"/>
              </a:rPr>
              <a:t>Creating Valu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140502" y="6168330"/>
            <a:ext cx="2573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Manus" pitchFamily="2" charset="0"/>
              </a:rPr>
              <a:t>from source to shelf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19263" y="5635679"/>
            <a:ext cx="193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AO</a:t>
            </a:r>
            <a:endParaRPr lang="en-US" sz="2800" dirty="0">
              <a:solidFill>
                <a:schemeClr val="bg1"/>
              </a:solidFill>
            </a:endParaRPr>
          </a:p>
          <a:p>
            <a:r>
              <a:rPr lang="es-AR" sz="2400" dirty="0">
                <a:solidFill>
                  <a:schemeClr val="bg1"/>
                </a:solidFill>
              </a:rPr>
              <a:t>Logistics 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530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F2FDF9F-67DA-4E59-8829-DC6EFB853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6DB1698-778C-4ED2-8DCE-39159CFB9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89C86E-A08A-478B-904C-8D4CB8FC2B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B7FEC-F353-4BC4-8FEC-4BD59EFB6E96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BCA8B1D-3815-401B-9EAD-E36FC6A44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45A7214-7C18-4843-AA82-DC325481F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59D607-121A-4C21-B44A-0424C0E9D8CD}" type="slidenum">
              <a:rPr lang="pt-BR" smtClean="0"/>
              <a:t>‹Nº›</a:t>
            </a:fld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102CDF5-99B4-4954-80C8-35AE8AFA5DA3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60433" y="6298008"/>
            <a:ext cx="2114550" cy="427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236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40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tângulo 7"/>
          <p:cNvSpPr/>
          <p:nvPr userDrawn="1"/>
        </p:nvSpPr>
        <p:spPr>
          <a:xfrm>
            <a:off x="0" y="6311900"/>
            <a:ext cx="12192000" cy="561090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10069F"/>
              </a:solidFill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80975" y="127000"/>
            <a:ext cx="1183957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713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pt-BR" dirty="0"/>
              <a:t>Nome da Apresentação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993" y="6311104"/>
            <a:ext cx="1763865" cy="55277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26212" y="6298064"/>
            <a:ext cx="2499145" cy="57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828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rgbClr val="10069F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A96740-8B70-46BE-BDC2-7C72BFB81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A96740-8B70-46BE-BDC2-7C72BFB81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5F7A69-03D2-4F62-A1EC-639DABE6C6C1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36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2D7798-8550-4E42-83AF-A41883ED2591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BA463D-D2B9-534F-8AF7-13A264943A28}" type="slidenum">
              <a:rPr lang="pt-BR" smtClean="0"/>
              <a:t>‹Nº›</a:t>
            </a:fld>
            <a:endParaRPr lang="pt-BR" dirty="0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9743" y="2640429"/>
            <a:ext cx="5032515" cy="1577142"/>
          </a:xfrm>
          <a:prstGeom prst="rect">
            <a:avLst/>
          </a:prstGeom>
        </p:spPr>
      </p:pic>
      <p:sp>
        <p:nvSpPr>
          <p:cNvPr id="8" name="Espaço Reservado para Título 1">
            <a:extLst>
              <a:ext uri="{FF2B5EF4-FFF2-40B4-BE49-F238E27FC236}">
                <a16:creationId xmlns:a16="http://schemas.microsoft.com/office/drawing/2014/main" id="{5996C7F0-8A30-4CCD-8C7B-B0750673F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383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744726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bg1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40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tângulo 7"/>
          <p:cNvSpPr/>
          <p:nvPr userDrawn="1"/>
        </p:nvSpPr>
        <p:spPr>
          <a:xfrm>
            <a:off x="0" y="6311900"/>
            <a:ext cx="12192000" cy="561090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10069F"/>
              </a:solidFill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80975" y="127000"/>
            <a:ext cx="1183957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713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pt-BR" dirty="0"/>
              <a:t>Nome da Apresentação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993" y="6311104"/>
            <a:ext cx="1763865" cy="55277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26212" y="6298064"/>
            <a:ext cx="2499145" cy="57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883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rgbClr val="10069F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33C967-B104-4C5B-8C3D-97112EF33F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33C967-B104-4C5B-8C3D-97112EF33F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538A607-8FF6-45B6-879D-AA7A1A9A555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4D0934-0219-4048-A663-939AD649AE44}" type="datetimeFigureOut">
              <a:rPr lang="pt-BR" smtClean="0"/>
              <a:t>01/03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  <p:sp>
        <p:nvSpPr>
          <p:cNvPr id="8" name="Espaço Reservado para Título 1"/>
          <p:cNvSpPr>
            <a:spLocks noGrp="1"/>
          </p:cNvSpPr>
          <p:nvPr>
            <p:ph type="title"/>
          </p:nvPr>
        </p:nvSpPr>
        <p:spPr>
          <a:xfrm>
            <a:off x="918364" y="1474475"/>
            <a:ext cx="4078574" cy="3577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240" y="5794760"/>
            <a:ext cx="2840723" cy="890255"/>
          </a:xfrm>
          <a:prstGeom prst="rect">
            <a:avLst/>
          </a:prstGeom>
        </p:spPr>
      </p:pic>
      <p:grpSp>
        <p:nvGrpSpPr>
          <p:cNvPr id="7" name="Group 6"/>
          <p:cNvGrpSpPr>
            <a:grpSpLocks noChangeAspect="1"/>
          </p:cNvGrpSpPr>
          <p:nvPr userDrawn="1"/>
        </p:nvGrpSpPr>
        <p:grpSpPr>
          <a:xfrm>
            <a:off x="8370500" y="214784"/>
            <a:ext cx="1546299" cy="960856"/>
            <a:chOff x="2510307" y="2891970"/>
            <a:chExt cx="5297533" cy="3291840"/>
          </a:xfrm>
        </p:grpSpPr>
        <p:sp>
          <p:nvSpPr>
            <p:cNvPr id="9" name="Oval 8"/>
            <p:cNvSpPr/>
            <p:nvPr/>
          </p:nvSpPr>
          <p:spPr>
            <a:xfrm>
              <a:off x="4516000" y="2891970"/>
              <a:ext cx="3291840" cy="329184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2" descr="Resultado de imagen para latin america map icon"/>
            <p:cNvPicPr>
              <a:picLocks noChangeAspect="1" noChangeArrowheads="1"/>
            </p:cNvPicPr>
            <p:nvPr/>
          </p:nvPicPr>
          <p:blipFill>
            <a:blip r:embed="rId19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6000" y="2986589"/>
              <a:ext cx="3102602" cy="3102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Oval 11"/>
            <p:cNvSpPr/>
            <p:nvPr/>
          </p:nvSpPr>
          <p:spPr>
            <a:xfrm>
              <a:off x="2510307" y="2891970"/>
              <a:ext cx="3291840" cy="3291840"/>
            </a:xfrm>
            <a:prstGeom prst="ellipse">
              <a:avLst/>
            </a:prstGeom>
            <a:solidFill>
              <a:srgbClr val="056CDD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3" name="Picture 2" descr="Imagen relacionada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2870080" y="3148874"/>
              <a:ext cx="2572294" cy="25722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TextBox 13"/>
          <p:cNvSpPr txBox="1"/>
          <p:nvPr userDrawn="1"/>
        </p:nvSpPr>
        <p:spPr>
          <a:xfrm>
            <a:off x="9840826" y="124501"/>
            <a:ext cx="26553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Fungo" panose="02000000000000000000" pitchFamily="50" charset="0"/>
              </a:rPr>
              <a:t>Creating Valu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922302" y="720030"/>
            <a:ext cx="2573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Manus" pitchFamily="2" charset="0"/>
              </a:rPr>
              <a:t>from source to shelf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7101063" y="187379"/>
            <a:ext cx="193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AO</a:t>
            </a:r>
            <a:endParaRPr lang="en-US" sz="2800" dirty="0">
              <a:solidFill>
                <a:schemeClr val="bg1"/>
              </a:solidFill>
            </a:endParaRPr>
          </a:p>
          <a:p>
            <a:r>
              <a:rPr lang="es-AR" sz="2400" dirty="0">
                <a:solidFill>
                  <a:schemeClr val="bg1"/>
                </a:solidFill>
              </a:rPr>
              <a:t>Logistics 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941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bg1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oleObject" Target="../embeddings/oleObject12.bin"/><Relationship Id="rId3" Type="http://schemas.openxmlformats.org/officeDocument/2006/relationships/tags" Target="../tags/tag24.xml"/><Relationship Id="rId21" Type="http://schemas.openxmlformats.org/officeDocument/2006/relationships/tags" Target="../tags/tag42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notesSlide" Target="../notesSlides/notesSlide2.xml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29" Type="http://schemas.openxmlformats.org/officeDocument/2006/relationships/image" Target="../media/image11.png"/><Relationship Id="rId1" Type="http://schemas.openxmlformats.org/officeDocument/2006/relationships/vmlDrawing" Target="../drawings/vmlDrawing12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slideLayout" Target="../slideLayouts/slideLayout59.xml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image" Target="../media/image10.png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tags" Target="../tags/tag46.xml"/><Relationship Id="rId21" Type="http://schemas.openxmlformats.org/officeDocument/2006/relationships/image" Target="../media/image24.png"/><Relationship Id="rId7" Type="http://schemas.openxmlformats.org/officeDocument/2006/relationships/image" Target="../media/image1.emf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tags" Target="../tags/tag45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4" Type="http://schemas.openxmlformats.org/officeDocument/2006/relationships/slideLayout" Target="../slideLayouts/slideLayout48.xml"/><Relationship Id="rId9" Type="http://schemas.openxmlformats.org/officeDocument/2006/relationships/image" Target="../media/image10.png"/><Relationship Id="rId14" Type="http://schemas.openxmlformats.org/officeDocument/2006/relationships/image" Target="../media/image17.png"/><Relationship Id="rId22" Type="http://schemas.openxmlformats.org/officeDocument/2006/relationships/image" Target="../media/image25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diagramColors" Target="../diagrams/colors1.xml"/><Relationship Id="rId3" Type="http://schemas.openxmlformats.org/officeDocument/2006/relationships/tags" Target="../tags/tag48.xml"/><Relationship Id="rId7" Type="http://schemas.openxmlformats.org/officeDocument/2006/relationships/image" Target="../media/image1.emf"/><Relationship Id="rId12" Type="http://schemas.openxmlformats.org/officeDocument/2006/relationships/diagramQuickStyle" Target="../diagrams/quickStyle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4.xml"/><Relationship Id="rId10" Type="http://schemas.openxmlformats.org/officeDocument/2006/relationships/diagramData" Target="../diagrams/data1.xml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10.png"/><Relationship Id="rId14" Type="http://schemas.microsoft.com/office/2007/relationships/diagramDrawing" Target="../diagrams/drawing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diagramColors" Target="../diagrams/colors2.xml"/><Relationship Id="rId3" Type="http://schemas.openxmlformats.org/officeDocument/2006/relationships/tags" Target="../tags/tag50.xml"/><Relationship Id="rId7" Type="http://schemas.openxmlformats.org/officeDocument/2006/relationships/image" Target="../media/image1.emf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5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10.png"/><Relationship Id="rId14" Type="http://schemas.microsoft.com/office/2007/relationships/diagramDrawing" Target="../diagrams/drawing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2.xml"/><Relationship Id="rId7" Type="http://schemas.openxmlformats.org/officeDocument/2006/relationships/image" Target="../media/image1.emf"/><Relationship Id="rId2" Type="http://schemas.openxmlformats.org/officeDocument/2006/relationships/tags" Target="../tags/tag5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4.xml"/><Relationship Id="rId7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6.xml"/><Relationship Id="rId7" Type="http://schemas.openxmlformats.org/officeDocument/2006/relationships/image" Target="../media/image1.emf"/><Relationship Id="rId2" Type="http://schemas.openxmlformats.org/officeDocument/2006/relationships/tags" Target="../tags/tag5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8.xml"/><Relationship Id="rId7" Type="http://schemas.openxmlformats.org/officeDocument/2006/relationships/image" Target="../media/image1.emf"/><Relationship Id="rId12" Type="http://schemas.openxmlformats.org/officeDocument/2006/relationships/image" Target="../media/image28.svg"/><Relationship Id="rId2" Type="http://schemas.openxmlformats.org/officeDocument/2006/relationships/tags" Target="../tags/tag5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27.sv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D1999804-DAE1-4EA4-954D-13948786EF01}"/>
              </a:ext>
            </a:extLst>
          </p:cNvPr>
          <p:cNvSpPr txBox="1">
            <a:spLocks/>
          </p:cNvSpPr>
          <p:nvPr/>
        </p:nvSpPr>
        <p:spPr>
          <a:xfrm>
            <a:off x="248576" y="2147424"/>
            <a:ext cx="7749530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LAO LOGISTICS OPEX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4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LAO WTM </a:t>
            </a:r>
            <a:endParaRPr kumimoji="0" lang="en-US" sz="43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B727CFFD-FBB7-4F08-85FF-BBEFDEE695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8576" y="4590863"/>
            <a:ext cx="5271655" cy="1655762"/>
          </a:xfrm>
        </p:spPr>
        <p:txBody>
          <a:bodyPr/>
          <a:lstStyle/>
          <a:p>
            <a:pPr algn="l"/>
            <a:r>
              <a:rPr lang="en-US" dirty="0"/>
              <a:t>Jan </a:t>
            </a:r>
            <a:r>
              <a:rPr lang="pt-BR" dirty="0"/>
              <a:t>2021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BC148A5-D9B7-4837-8608-BD78EB9ED1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418744"/>
            <a:ext cx="5520231" cy="1380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4573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7435F957-0CFA-4166-8FD3-A51C00ACAFD0}"/>
              </a:ext>
            </a:extLst>
          </p:cNvPr>
          <p:cNvSpPr/>
          <p:nvPr/>
        </p:nvSpPr>
        <p:spPr>
          <a:xfrm>
            <a:off x="2785640" y="2115273"/>
            <a:ext cx="6620719" cy="262745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¡Muchas gracias por el compromiso en esta valiosa etapa de construcción de Estándares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C211F8-120D-4147-8E89-3FE5A81CFD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05925" y="6238875"/>
            <a:ext cx="2724150" cy="619125"/>
          </a:xfrm>
          <a:prstGeom prst="rect">
            <a:avLst/>
          </a:prstGeom>
        </p:spPr>
      </p:pic>
      <p:pic>
        <p:nvPicPr>
          <p:cNvPr id="4" name="Imagen 4">
            <a:extLst>
              <a:ext uri="{FF2B5EF4-FFF2-40B4-BE49-F238E27FC236}">
                <a16:creationId xmlns:a16="http://schemas.microsoft.com/office/drawing/2014/main" id="{58C1A03B-DC83-46B2-AA36-67C7020B01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925" y="6199857"/>
            <a:ext cx="2476496" cy="619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917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26" imgW="395" imgH="396" progId="TCLayout.ActiveDocument.1">
                  <p:embed/>
                </p:oleObj>
              </mc:Choice>
              <mc:Fallback>
                <p:oleObj name="think-cell Slide" r:id="rId2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22168155-8295-4B2E-92AC-315A908F23BF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6477918" y="185732"/>
            <a:ext cx="5520231" cy="138005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20319FE9-7FB6-4045-B0FE-CEF290BCC834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214378" y="1824548"/>
            <a:ext cx="11874145" cy="4847720"/>
            <a:chOff x="1240" y="1968"/>
            <a:chExt cx="960" cy="960"/>
          </a:xfrm>
          <a:solidFill>
            <a:schemeClr val="bg1"/>
          </a:solidFill>
        </p:grpSpPr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AEFD2E4F-4BCE-4929-90B8-B8A579C4BE87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prstShdw prst="shdw17" dist="17961" dir="2700000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wrap="none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6" name="Rectangle 286">
              <a:extLst>
                <a:ext uri="{FF2B5EF4-FFF2-40B4-BE49-F238E27FC236}">
                  <a16:creationId xmlns:a16="http://schemas.microsoft.com/office/drawing/2014/main" id="{61692A65-EBBA-4DF5-83F1-7D644E8D8335}"/>
                </a:ext>
              </a:extLst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3500" tIns="63500" rIns="63500" bIns="0" anchor="ctr"/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Tx/>
                <a:buFontTx/>
                <a:buNone/>
                <a:tabLst/>
                <a:defRPr/>
              </a:pPr>
              <a:endParaRPr kumimoji="0" lang="es-AR" altLang="ko-KR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Gulim" panose="020B0600000101010101" pitchFamily="34" charset="-127"/>
                <a:cs typeface="+mn-cs"/>
              </a:endParaRPr>
            </a:p>
          </p:txBody>
        </p:sp>
      </p:grpSp>
      <p:sp>
        <p:nvSpPr>
          <p:cNvPr id="28" name="Line 62">
            <a:extLst>
              <a:ext uri="{FF2B5EF4-FFF2-40B4-BE49-F238E27FC236}">
                <a16:creationId xmlns:a16="http://schemas.microsoft.com/office/drawing/2014/main" id="{99972197-783C-4CAD-B871-389835DD249F}"/>
              </a:ext>
            </a:extLst>
          </p:cNvPr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874007" y="3094572"/>
            <a:ext cx="8672513" cy="0"/>
          </a:xfrm>
          <a:prstGeom prst="line">
            <a:avLst/>
          </a:prstGeom>
          <a:noFill/>
          <a:ln w="12700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5">
            <a:extLst>
              <a:ext uri="{FF2B5EF4-FFF2-40B4-BE49-F238E27FC236}">
                <a16:creationId xmlns:a16="http://schemas.microsoft.com/office/drawing/2014/main" id="{A3D18DCB-9A94-4653-9779-3B76911D54F0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692164" y="1920381"/>
            <a:ext cx="7002413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2238" indent="-122238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5000"/>
              <a:buFontTx/>
              <a:buNone/>
              <a:tabLst/>
              <a:defRPr/>
            </a:pPr>
            <a:b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standarizar procesos operacionales para todas las operaciones de warehouses en la región LAO para luego poder realizar seguimiento de métricas y buscar la Mejora continua en cada proceso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5000"/>
              <a:buFontTx/>
              <a:buNone/>
              <a:tabLst/>
              <a:defRPr/>
            </a:pPr>
            <a:endParaRPr kumimoji="0" lang="es-AR" altLang="es-AR" sz="16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1" name="Rectangle 5">
            <a:extLst>
              <a:ext uri="{FF2B5EF4-FFF2-40B4-BE49-F238E27FC236}">
                <a16:creationId xmlns:a16="http://schemas.microsoft.com/office/drawing/2014/main" id="{0CF30BE2-27BB-435B-BE69-2BAED9A4BA60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692164" y="3241159"/>
            <a:ext cx="7002413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2238" indent="-122238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22238" marR="0" lvl="0" indent="-1222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AR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rear los estándares conjuntamente con los Customer Logisitcs de acuerdo a las operaciones actuales, y mapear las necesidades y expectativas a nivel  tecnológico/ operacional ( Procesos, Métricas y sistemas) para los próximos años.</a:t>
            </a:r>
          </a:p>
        </p:txBody>
      </p:sp>
      <p:grpSp>
        <p:nvGrpSpPr>
          <p:cNvPr id="33" name="Group 21">
            <a:extLst>
              <a:ext uri="{FF2B5EF4-FFF2-40B4-BE49-F238E27FC236}">
                <a16:creationId xmlns:a16="http://schemas.microsoft.com/office/drawing/2014/main" id="{7387D647-7C59-4179-AD95-D85879A6E7A7}"/>
              </a:ext>
            </a:extLst>
          </p:cNvPr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827323" y="3278709"/>
            <a:ext cx="1673225" cy="755933"/>
            <a:chOff x="208" y="1018"/>
            <a:chExt cx="1054" cy="576"/>
          </a:xfrm>
          <a:solidFill>
            <a:schemeClr val="accent1"/>
          </a:solidFill>
        </p:grpSpPr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EE73701F-9B53-4750-95CB-C8182057F80A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blackWhite">
            <a:xfrm>
              <a:off x="208" y="1018"/>
              <a:ext cx="1054" cy="576"/>
            </a:xfrm>
            <a:custGeom>
              <a:avLst/>
              <a:gdLst>
                <a:gd name="T0" fmla="*/ 0 w 1054"/>
                <a:gd name="T1" fmla="*/ 0 h 576"/>
                <a:gd name="T2" fmla="*/ 950 w 1054"/>
                <a:gd name="T3" fmla="*/ 0 h 576"/>
                <a:gd name="T4" fmla="*/ 1054 w 1054"/>
                <a:gd name="T5" fmla="*/ 288 h 576"/>
                <a:gd name="T6" fmla="*/ 950 w 1054"/>
                <a:gd name="T7" fmla="*/ 576 h 576"/>
                <a:gd name="T8" fmla="*/ 0 w 1054"/>
                <a:gd name="T9" fmla="*/ 576 h 576"/>
                <a:gd name="T10" fmla="*/ 0 w 1054"/>
                <a:gd name="T11" fmla="*/ 288 h 576"/>
                <a:gd name="T12" fmla="*/ 0 w 105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54" h="576">
                  <a:moveTo>
                    <a:pt x="0" y="0"/>
                  </a:moveTo>
                  <a:lnTo>
                    <a:pt x="950" y="0"/>
                  </a:lnTo>
                  <a:lnTo>
                    <a:pt x="1054" y="288"/>
                  </a:lnTo>
                  <a:lnTo>
                    <a:pt x="95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45791" dir="3378596" algn="ctr" rotWithShape="0">
                <a:srgbClr val="DDDDDD"/>
              </a:outerShdw>
            </a:effectLst>
          </p:spPr>
          <p:txBody>
            <a:bodyPr wrap="none" lIns="360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Rectangle 23">
              <a:extLst>
                <a:ext uri="{FF2B5EF4-FFF2-40B4-BE49-F238E27FC236}">
                  <a16:creationId xmlns:a16="http://schemas.microsoft.com/office/drawing/2014/main" id="{F4152E81-44F1-4F50-A9B4-A0D21334208E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blackWhite">
            <a:xfrm>
              <a:off x="240" y="1069"/>
              <a:ext cx="918" cy="49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810" bIns="0" anchor="ctr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s-AR" alt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PROCESS</a:t>
              </a:r>
            </a:p>
          </p:txBody>
        </p:sp>
      </p:grpSp>
      <p:sp>
        <p:nvSpPr>
          <p:cNvPr id="36" name="Line 62">
            <a:extLst>
              <a:ext uri="{FF2B5EF4-FFF2-40B4-BE49-F238E27FC236}">
                <a16:creationId xmlns:a16="http://schemas.microsoft.com/office/drawing/2014/main" id="{19DA6437-F0CE-43E6-9769-591F79532F5A}"/>
              </a:ext>
            </a:extLst>
          </p:cNvPr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878123" y="4245395"/>
            <a:ext cx="8672513" cy="0"/>
          </a:xfrm>
          <a:prstGeom prst="line">
            <a:avLst/>
          </a:prstGeom>
          <a:noFill/>
          <a:ln w="12700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ectangle 5">
            <a:extLst>
              <a:ext uri="{FF2B5EF4-FFF2-40B4-BE49-F238E27FC236}">
                <a16:creationId xmlns:a16="http://schemas.microsoft.com/office/drawing/2014/main" id="{EC1340A8-D601-47A0-B1C1-7C726181BC48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152702" y="5117606"/>
            <a:ext cx="550776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2238" indent="-122238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22238" marR="0" lvl="0" indent="-1222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Arial" panose="020B0604020202020204" pitchFamily="34" charset="0"/>
              <a:buChar char="▪"/>
              <a:tabLst/>
              <a:defRPr/>
            </a:pPr>
            <a:endParaRPr kumimoji="0" lang="es-AR" altLang="es-AR" sz="16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9" name="Line 62">
            <a:extLst>
              <a:ext uri="{FF2B5EF4-FFF2-40B4-BE49-F238E27FC236}">
                <a16:creationId xmlns:a16="http://schemas.microsoft.com/office/drawing/2014/main" id="{C9E6C25A-7007-42E8-BFA7-9E8173EF2D8A}"/>
              </a:ext>
            </a:extLst>
          </p:cNvPr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827323" y="2010053"/>
            <a:ext cx="8672513" cy="0"/>
          </a:xfrm>
          <a:prstGeom prst="line">
            <a:avLst/>
          </a:prstGeom>
          <a:noFill/>
          <a:ln w="12700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0" name="Group 21">
            <a:extLst>
              <a:ext uri="{FF2B5EF4-FFF2-40B4-BE49-F238E27FC236}">
                <a16:creationId xmlns:a16="http://schemas.microsoft.com/office/drawing/2014/main" id="{562078EC-99E8-442B-963B-21FE11E58170}"/>
              </a:ext>
            </a:extLst>
          </p:cNvPr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799395" y="4720921"/>
            <a:ext cx="1673225" cy="755933"/>
            <a:chOff x="208" y="1018"/>
            <a:chExt cx="1054" cy="576"/>
          </a:xfrm>
          <a:solidFill>
            <a:schemeClr val="accent1"/>
          </a:solidFill>
        </p:grpSpPr>
        <p:sp>
          <p:nvSpPr>
            <p:cNvPr id="41" name="Freeform 22">
              <a:extLst>
                <a:ext uri="{FF2B5EF4-FFF2-40B4-BE49-F238E27FC236}">
                  <a16:creationId xmlns:a16="http://schemas.microsoft.com/office/drawing/2014/main" id="{E34F0EC1-FBCA-4FA1-944C-089F6EFB830A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blackWhite">
            <a:xfrm>
              <a:off x="208" y="1018"/>
              <a:ext cx="1054" cy="576"/>
            </a:xfrm>
            <a:custGeom>
              <a:avLst/>
              <a:gdLst>
                <a:gd name="T0" fmla="*/ 0 w 1054"/>
                <a:gd name="T1" fmla="*/ 0 h 576"/>
                <a:gd name="T2" fmla="*/ 950 w 1054"/>
                <a:gd name="T3" fmla="*/ 0 h 576"/>
                <a:gd name="T4" fmla="*/ 1054 w 1054"/>
                <a:gd name="T5" fmla="*/ 288 h 576"/>
                <a:gd name="T6" fmla="*/ 950 w 1054"/>
                <a:gd name="T7" fmla="*/ 576 h 576"/>
                <a:gd name="T8" fmla="*/ 0 w 1054"/>
                <a:gd name="T9" fmla="*/ 576 h 576"/>
                <a:gd name="T10" fmla="*/ 0 w 1054"/>
                <a:gd name="T11" fmla="*/ 288 h 576"/>
                <a:gd name="T12" fmla="*/ 0 w 105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54" h="576">
                  <a:moveTo>
                    <a:pt x="0" y="0"/>
                  </a:moveTo>
                  <a:lnTo>
                    <a:pt x="950" y="0"/>
                  </a:lnTo>
                  <a:lnTo>
                    <a:pt x="1054" y="288"/>
                  </a:lnTo>
                  <a:lnTo>
                    <a:pt x="95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45791" dir="3378596" algn="ctr" rotWithShape="0">
                <a:srgbClr val="DDDDDD"/>
              </a:outerShdw>
            </a:effectLst>
          </p:spPr>
          <p:txBody>
            <a:bodyPr wrap="none" lIns="360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Rectangle 23">
              <a:extLst>
                <a:ext uri="{FF2B5EF4-FFF2-40B4-BE49-F238E27FC236}">
                  <a16:creationId xmlns:a16="http://schemas.microsoft.com/office/drawing/2014/main" id="{58899961-807B-465A-B290-FCC4C37A62F1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blackWhite">
            <a:xfrm>
              <a:off x="240" y="1069"/>
              <a:ext cx="918" cy="49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810" bIns="0" anchor="ctr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s-AR" alt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OUTCOME</a:t>
              </a:r>
            </a:p>
          </p:txBody>
        </p:sp>
      </p:grpSp>
      <p:grpSp>
        <p:nvGrpSpPr>
          <p:cNvPr id="43" name="Group 21">
            <a:extLst>
              <a:ext uri="{FF2B5EF4-FFF2-40B4-BE49-F238E27FC236}">
                <a16:creationId xmlns:a16="http://schemas.microsoft.com/office/drawing/2014/main" id="{6CC48AF8-95C3-4257-81D2-258CA719E931}"/>
              </a:ext>
            </a:extLst>
          </p:cNvPr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828225" y="2119222"/>
            <a:ext cx="1673225" cy="755933"/>
            <a:chOff x="208" y="1018"/>
            <a:chExt cx="1054" cy="576"/>
          </a:xfrm>
          <a:solidFill>
            <a:schemeClr val="accent1"/>
          </a:solidFill>
        </p:grpSpPr>
        <p:sp>
          <p:nvSpPr>
            <p:cNvPr id="44" name="Freeform 22">
              <a:extLst>
                <a:ext uri="{FF2B5EF4-FFF2-40B4-BE49-F238E27FC236}">
                  <a16:creationId xmlns:a16="http://schemas.microsoft.com/office/drawing/2014/main" id="{27376C64-A52E-4448-95AA-DC7490CF2234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blackWhite">
            <a:xfrm>
              <a:off x="208" y="1018"/>
              <a:ext cx="1054" cy="576"/>
            </a:xfrm>
            <a:custGeom>
              <a:avLst/>
              <a:gdLst>
                <a:gd name="T0" fmla="*/ 0 w 1054"/>
                <a:gd name="T1" fmla="*/ 0 h 576"/>
                <a:gd name="T2" fmla="*/ 950 w 1054"/>
                <a:gd name="T3" fmla="*/ 0 h 576"/>
                <a:gd name="T4" fmla="*/ 1054 w 1054"/>
                <a:gd name="T5" fmla="*/ 288 h 576"/>
                <a:gd name="T6" fmla="*/ 950 w 1054"/>
                <a:gd name="T7" fmla="*/ 576 h 576"/>
                <a:gd name="T8" fmla="*/ 0 w 1054"/>
                <a:gd name="T9" fmla="*/ 576 h 576"/>
                <a:gd name="T10" fmla="*/ 0 w 1054"/>
                <a:gd name="T11" fmla="*/ 288 h 576"/>
                <a:gd name="T12" fmla="*/ 0 w 105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54" h="576">
                  <a:moveTo>
                    <a:pt x="0" y="0"/>
                  </a:moveTo>
                  <a:lnTo>
                    <a:pt x="950" y="0"/>
                  </a:lnTo>
                  <a:lnTo>
                    <a:pt x="1054" y="288"/>
                  </a:lnTo>
                  <a:lnTo>
                    <a:pt x="95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dist="45791" dir="3378596" algn="ctr" rotWithShape="0">
                <a:srgbClr val="DDDDDD"/>
              </a:outerShdw>
            </a:effectLst>
          </p:spPr>
          <p:txBody>
            <a:bodyPr wrap="none" lIns="360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Rectangle 23">
              <a:extLst>
                <a:ext uri="{FF2B5EF4-FFF2-40B4-BE49-F238E27FC236}">
                  <a16:creationId xmlns:a16="http://schemas.microsoft.com/office/drawing/2014/main" id="{A1949839-C40C-4122-A607-32D1E6DC39A4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blackWhite">
            <a:xfrm>
              <a:off x="240" y="1069"/>
              <a:ext cx="918" cy="49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810" bIns="0" anchor="ctr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s-AR" altLang="es-AR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PURPOSE</a:t>
              </a:r>
            </a:p>
          </p:txBody>
        </p:sp>
      </p:grpSp>
      <p:sp>
        <p:nvSpPr>
          <p:cNvPr id="46" name="Line 62">
            <a:extLst>
              <a:ext uri="{FF2B5EF4-FFF2-40B4-BE49-F238E27FC236}">
                <a16:creationId xmlns:a16="http://schemas.microsoft.com/office/drawing/2014/main" id="{F2501CB0-9F21-4D3C-9863-D72253B81AC4}"/>
              </a:ext>
            </a:extLst>
          </p:cNvPr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816445" y="6507863"/>
            <a:ext cx="8672513" cy="0"/>
          </a:xfrm>
          <a:prstGeom prst="line">
            <a:avLst/>
          </a:prstGeom>
          <a:noFill/>
          <a:ln w="12700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ectangle 5">
            <a:extLst>
              <a:ext uri="{FF2B5EF4-FFF2-40B4-BE49-F238E27FC236}">
                <a16:creationId xmlns:a16="http://schemas.microsoft.com/office/drawing/2014/main" id="{651E2A67-07C0-4591-86F1-D731C91D2E1E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668822" y="4302309"/>
            <a:ext cx="7002414" cy="2708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2238" indent="-122238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>
              <a:buClr>
                <a:srgbClr val="000000"/>
              </a:buClr>
            </a:pPr>
            <a:r>
              <a:rPr lang="es-AR" b="1" dirty="0">
                <a:solidFill>
                  <a:srgbClr val="292929"/>
                </a:solidFill>
              </a:rPr>
              <a:t>Phase 1</a:t>
            </a:r>
          </a:p>
          <a:p>
            <a:pPr marL="285750" indent="-28575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s-AR" dirty="0">
                <a:solidFill>
                  <a:srgbClr val="292929"/>
                </a:solidFill>
              </a:rPr>
              <a:t>Creación de Playbook: </a:t>
            </a:r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/>
              </a:rPr>
              <a:t>LAO Logistics Operational Process Playbook </a:t>
            </a:r>
            <a:r>
              <a:rPr lang="en-US" dirty="0">
                <a:latin typeface="Arial" panose="020B0604020202020204"/>
              </a:rPr>
              <a:t>(procesos y procedimientos</a:t>
            </a:r>
          </a:p>
          <a:p>
            <a:pPr marL="285750" indent="-28575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s-AR" dirty="0">
                <a:solidFill>
                  <a:srgbClr val="292929"/>
                </a:solidFill>
              </a:rPr>
              <a:t>Creación </a:t>
            </a:r>
            <a:r>
              <a:rPr lang="en-US" dirty="0">
                <a:solidFill>
                  <a:srgbClr val="292929"/>
                </a:solidFill>
              </a:rPr>
              <a:t>de </a:t>
            </a:r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/>
              </a:rPr>
              <a:t>LAO Distribution Dashboard KPIs</a:t>
            </a:r>
            <a:r>
              <a:rPr lang="en-US" dirty="0">
                <a:latin typeface="Arial" panose="020B0604020202020204"/>
              </a:rPr>
              <a:t>: </a:t>
            </a:r>
            <a:r>
              <a:rPr lang="es-AR" dirty="0">
                <a:latin typeface="Arial" panose="020B0604020202020204"/>
              </a:rPr>
              <a:t>Estandarización</a:t>
            </a:r>
            <a:r>
              <a:rPr lang="en-US" dirty="0">
                <a:latin typeface="Arial" panose="020B0604020202020204"/>
              </a:rPr>
              <a:t> de Metrics (KPIs)</a:t>
            </a:r>
          </a:p>
          <a:p>
            <a:pPr marL="285750" indent="-285750"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/>
            </a:endParaRPr>
          </a:p>
          <a:p>
            <a:pPr marL="0" indent="0">
              <a:buClr>
                <a:srgbClr val="000000"/>
              </a:buClr>
            </a:pPr>
            <a:r>
              <a:rPr lang="es-AR" b="1" dirty="0">
                <a:latin typeface="Arial" panose="020B0604020202020204"/>
              </a:rPr>
              <a:t>Phase 2</a:t>
            </a:r>
          </a:p>
          <a:p>
            <a:pPr marL="285750" indent="-28575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s-AR" dirty="0">
                <a:cs typeface="Arial" panose="020B0604020202020204" pitchFamily="34" charset="0"/>
              </a:rPr>
              <a:t>Mapeo</a:t>
            </a:r>
            <a:r>
              <a:rPr lang="es-AR" b="1" dirty="0">
                <a:solidFill>
                  <a:schemeClr val="accent1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 EWM System </a:t>
            </a:r>
            <a:r>
              <a:rPr lang="es-AR" dirty="0">
                <a:latin typeface="Arial" panose="020B0604020202020204"/>
              </a:rPr>
              <a:t>(Technological FootPrint) en cada </a:t>
            </a:r>
            <a:r>
              <a:rPr lang="es-AR" dirty="0" err="1">
                <a:latin typeface="Arial" panose="020B0604020202020204"/>
              </a:rPr>
              <a:t>site</a:t>
            </a:r>
            <a:r>
              <a:rPr lang="es-AR" dirty="0">
                <a:latin typeface="Arial" panose="020B0604020202020204"/>
              </a:rPr>
              <a:t> según necesitad </a:t>
            </a:r>
          </a:p>
          <a:p>
            <a:pPr marL="285750" indent="-285750">
              <a:buClr>
                <a:srgbClr val="000000"/>
              </a:buClr>
              <a:buFont typeface="Arial" panose="020B0604020202020204" pitchFamily="34" charset="0"/>
              <a:buChar char="•"/>
            </a:pPr>
            <a:endParaRPr kumimoji="0" lang="es-AR" sz="16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22238" marR="0" lvl="0" indent="-1222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s-AR" sz="16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B21ED301-A277-4C1F-80B6-6231FBA4CE16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9828819" y="2973598"/>
            <a:ext cx="2176261" cy="2657422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41172AD7-94C2-4AFB-9EB5-84C7E322E1ED}"/>
              </a:ext>
            </a:extLst>
          </p:cNvPr>
          <p:cNvSpPr txBox="1"/>
          <p:nvPr/>
        </p:nvSpPr>
        <p:spPr>
          <a:xfrm>
            <a:off x="10421790" y="3728708"/>
            <a:ext cx="9428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8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O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00008B9-2435-4FE1-AE38-47B5D3D7C5A5}"/>
              </a:ext>
            </a:extLst>
          </p:cNvPr>
          <p:cNvSpPr/>
          <p:nvPr/>
        </p:nvSpPr>
        <p:spPr>
          <a:xfrm>
            <a:off x="232934" y="1355799"/>
            <a:ext cx="92897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rehousing Tools &amp; Metrics</a:t>
            </a:r>
          </a:p>
        </p:txBody>
      </p:sp>
    </p:spTree>
    <p:extLst>
      <p:ext uri="{BB962C8B-B14F-4D97-AF65-F5344CB8AC3E}">
        <p14:creationId xmlns:p14="http://schemas.microsoft.com/office/powerpoint/2010/main" val="1165601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3A25A542-6D75-48C2-A9E2-447D3591B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2507" y="236683"/>
            <a:ext cx="12123230" cy="721203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Warehouses LAO Strategy 2021</a:t>
            </a:r>
            <a:br>
              <a:rPr lang="en-US" sz="4000" dirty="0"/>
            </a:br>
            <a:r>
              <a:rPr lang="en-US" sz="2200" dirty="0"/>
              <a:t>Our Methodology to achieve this Transformation</a:t>
            </a:r>
            <a:br>
              <a:rPr lang="en-US" sz="1800" dirty="0"/>
            </a:br>
            <a:br>
              <a:rPr lang="en-US" sz="1800" dirty="0"/>
            </a:br>
            <a:endParaRPr lang="en-US" sz="18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F4160DD-EBC8-4D21-B5D0-30CAD4A2F47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75315" y="3126003"/>
            <a:ext cx="5330534" cy="3073417"/>
          </a:xfrm>
          <a:prstGeom prst="rect">
            <a:avLst/>
          </a:prstGeom>
        </p:spPr>
      </p:pic>
      <p:sp>
        <p:nvSpPr>
          <p:cNvPr id="53" name="TextBox 9">
            <a:extLst>
              <a:ext uri="{FF2B5EF4-FFF2-40B4-BE49-F238E27FC236}">
                <a16:creationId xmlns:a16="http://schemas.microsoft.com/office/drawing/2014/main" id="{D0F6698C-E925-4474-A021-52196D4E5DE0}"/>
              </a:ext>
            </a:extLst>
          </p:cNvPr>
          <p:cNvSpPr txBox="1"/>
          <p:nvPr/>
        </p:nvSpPr>
        <p:spPr>
          <a:xfrm>
            <a:off x="1554737" y="1402098"/>
            <a:ext cx="3194617" cy="7212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ght Mindset!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EX  Forums &amp; Workshop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EX  Sessions/ Programs</a:t>
            </a:r>
          </a:p>
        </p:txBody>
      </p:sp>
      <p:sp>
        <p:nvSpPr>
          <p:cNvPr id="54" name="TextBox 39">
            <a:extLst>
              <a:ext uri="{FF2B5EF4-FFF2-40B4-BE49-F238E27FC236}">
                <a16:creationId xmlns:a16="http://schemas.microsoft.com/office/drawing/2014/main" id="{42FE153B-B295-4BE2-91AD-6F8668E4C4BB}"/>
              </a:ext>
            </a:extLst>
          </p:cNvPr>
          <p:cNvSpPr txBox="1"/>
          <p:nvPr/>
        </p:nvSpPr>
        <p:spPr>
          <a:xfrm>
            <a:off x="4477233" y="1355219"/>
            <a:ext cx="3749124" cy="112000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ght Processes!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O Logistics Design Playbook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O DC Macro-Process Model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E37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O Technological FootPrin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O Logistics Operational Process Playbook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TextBox 41">
            <a:extLst>
              <a:ext uri="{FF2B5EF4-FFF2-40B4-BE49-F238E27FC236}">
                <a16:creationId xmlns:a16="http://schemas.microsoft.com/office/drawing/2014/main" id="{AE669FA8-49F8-422E-BC25-414F0BB51868}"/>
              </a:ext>
            </a:extLst>
          </p:cNvPr>
          <p:cNvSpPr txBox="1"/>
          <p:nvPr/>
        </p:nvSpPr>
        <p:spPr>
          <a:xfrm>
            <a:off x="8075692" y="1380405"/>
            <a:ext cx="3458002" cy="77955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ght Metrics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llet Optimizatio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E37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ols &amp; Metrics:  Brazil /SLAO/ NLAO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Rectángulo: esquinas redondeadas 14">
            <a:extLst>
              <a:ext uri="{FF2B5EF4-FFF2-40B4-BE49-F238E27FC236}">
                <a16:creationId xmlns:a16="http://schemas.microsoft.com/office/drawing/2014/main" id="{3C58714C-19AD-4F9C-AA13-071AEB591870}"/>
              </a:ext>
            </a:extLst>
          </p:cNvPr>
          <p:cNvSpPr/>
          <p:nvPr/>
        </p:nvSpPr>
        <p:spPr>
          <a:xfrm>
            <a:off x="2839050" y="3249795"/>
            <a:ext cx="1407671" cy="258634"/>
          </a:xfrm>
          <a:prstGeom prst="round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fety -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y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9507DDE-8F99-43B9-B35B-61EB70E7A170}"/>
              </a:ext>
            </a:extLst>
          </p:cNvPr>
          <p:cNvGrpSpPr/>
          <p:nvPr/>
        </p:nvGrpSpPr>
        <p:grpSpPr>
          <a:xfrm>
            <a:off x="7365950" y="2561080"/>
            <a:ext cx="4664081" cy="499299"/>
            <a:chOff x="377988" y="249490"/>
            <a:chExt cx="4523255" cy="499299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996251E-54DC-4CCB-AFD2-9D848E901CC1}"/>
                </a:ext>
              </a:extLst>
            </p:cNvPr>
            <p:cNvSpPr/>
            <p:nvPr/>
          </p:nvSpPr>
          <p:spPr>
            <a:xfrm>
              <a:off x="377988" y="249490"/>
              <a:ext cx="4523255" cy="499299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EABD888-8844-40D6-8B96-E996C38DA164}"/>
                </a:ext>
              </a:extLst>
            </p:cNvPr>
            <p:cNvSpPr txBox="1"/>
            <p:nvPr/>
          </p:nvSpPr>
          <p:spPr>
            <a:xfrm>
              <a:off x="377988" y="249490"/>
              <a:ext cx="4523255" cy="49929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96319" tIns="35560" rIns="35560" bIns="3556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KPIs Standardization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32AB2242-C65E-456D-AB5D-C1656A9C599A}"/>
              </a:ext>
            </a:extLst>
          </p:cNvPr>
          <p:cNvSpPr/>
          <p:nvPr/>
        </p:nvSpPr>
        <p:spPr>
          <a:xfrm>
            <a:off x="7320646" y="3226581"/>
            <a:ext cx="18359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069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ndl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069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st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10069F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CFC4D4-0C1C-4740-B6C5-219B0B67B7B6}"/>
              </a:ext>
            </a:extLst>
          </p:cNvPr>
          <p:cNvSpPr/>
          <p:nvPr/>
        </p:nvSpPr>
        <p:spPr>
          <a:xfrm>
            <a:off x="7245125" y="3973611"/>
            <a:ext cx="19380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069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orag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069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s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F4DA32F-5B4A-46F0-9B99-0C5A49E258E0}"/>
              </a:ext>
            </a:extLst>
          </p:cNvPr>
          <p:cNvSpPr/>
          <p:nvPr/>
        </p:nvSpPr>
        <p:spPr>
          <a:xfrm>
            <a:off x="7415729" y="4702699"/>
            <a:ext cx="16964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069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rehouse Utilization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10069F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AD3209C6-3CAD-4D73-800D-B8DB2F7CFCC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224432" y="5625496"/>
            <a:ext cx="589014" cy="58356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B3AB5D3B-CA18-437F-BD4D-6368AC3F341D}"/>
              </a:ext>
            </a:extLst>
          </p:cNvPr>
          <p:cNvSpPr/>
          <p:nvPr/>
        </p:nvSpPr>
        <p:spPr>
          <a:xfrm>
            <a:off x="10129378" y="5729108"/>
            <a:ext cx="120066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urns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E148CA-B90F-4E0A-B408-65F1EC5FAD7B}"/>
              </a:ext>
            </a:extLst>
          </p:cNvPr>
          <p:cNvSpPr/>
          <p:nvPr/>
        </p:nvSpPr>
        <p:spPr>
          <a:xfrm>
            <a:off x="10333027" y="5176580"/>
            <a:ext cx="120066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R" sz="18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FT</a:t>
            </a:r>
            <a:endParaRPr kumimoji="0" lang="es-CR" sz="1200" b="1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ángulo 59">
            <a:extLst>
              <a:ext uri="{FF2B5EF4-FFF2-40B4-BE49-F238E27FC236}">
                <a16:creationId xmlns:a16="http://schemas.microsoft.com/office/drawing/2014/main" id="{0F3F134C-0AA6-45C7-ABEC-3E1DD8B96C85}"/>
              </a:ext>
            </a:extLst>
          </p:cNvPr>
          <p:cNvSpPr/>
          <p:nvPr/>
        </p:nvSpPr>
        <p:spPr>
          <a:xfrm>
            <a:off x="7384649" y="3092593"/>
            <a:ext cx="4618298" cy="3106827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E31F9DA-83FA-45A5-8B61-6B954013FD50}"/>
              </a:ext>
            </a:extLst>
          </p:cNvPr>
          <p:cNvSpPr/>
          <p:nvPr/>
        </p:nvSpPr>
        <p:spPr>
          <a:xfrm>
            <a:off x="10232560" y="3942205"/>
            <a:ext cx="9110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EE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502605E-3902-453D-A47B-FBF93B90B824}"/>
              </a:ext>
            </a:extLst>
          </p:cNvPr>
          <p:cNvSpPr/>
          <p:nvPr/>
        </p:nvSpPr>
        <p:spPr>
          <a:xfrm>
            <a:off x="9750587" y="3340589"/>
            <a:ext cx="14542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vements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DCB9B79-9C69-4EE3-AECA-DD58DECB27DB}"/>
              </a:ext>
            </a:extLst>
          </p:cNvPr>
          <p:cNvSpPr/>
          <p:nvPr/>
        </p:nvSpPr>
        <p:spPr>
          <a:xfrm>
            <a:off x="7365950" y="5491117"/>
            <a:ext cx="1914883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069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st to serv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0A70BE0-CC4A-44DA-A3FB-B30D82487B1A}"/>
              </a:ext>
            </a:extLst>
          </p:cNvPr>
          <p:cNvSpPr/>
          <p:nvPr/>
        </p:nvSpPr>
        <p:spPr>
          <a:xfrm>
            <a:off x="10046897" y="4570176"/>
            <a:ext cx="12234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ntory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9FB484A-9421-465B-8FED-FF851A7B9BA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05958" y="4624130"/>
            <a:ext cx="676275" cy="55245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B2C1F5C-110C-4292-9797-F9D0A7C42A4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247792" y="4492477"/>
            <a:ext cx="571805" cy="42170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CE65166-1211-4D28-AC8A-0FD2C74ADEE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936156" y="3176521"/>
            <a:ext cx="552450" cy="533400"/>
          </a:xfrm>
          <a:prstGeom prst="rect">
            <a:avLst/>
          </a:prstGeom>
        </p:spPr>
      </p:pic>
      <p:sp>
        <p:nvSpPr>
          <p:cNvPr id="59" name="Freeform 168">
            <a:extLst>
              <a:ext uri="{FF2B5EF4-FFF2-40B4-BE49-F238E27FC236}">
                <a16:creationId xmlns:a16="http://schemas.microsoft.com/office/drawing/2014/main" id="{C9D3912A-DC37-4C69-A8B8-BB5FBBF444B3}"/>
              </a:ext>
            </a:extLst>
          </p:cNvPr>
          <p:cNvSpPr>
            <a:spLocks noEditPoints="1"/>
          </p:cNvSpPr>
          <p:nvPr/>
        </p:nvSpPr>
        <p:spPr bwMode="auto">
          <a:xfrm>
            <a:off x="11316744" y="5151564"/>
            <a:ext cx="405977" cy="341020"/>
          </a:xfrm>
          <a:custGeom>
            <a:avLst/>
            <a:gdLst/>
            <a:ahLst/>
            <a:cxnLst>
              <a:cxn ang="0">
                <a:pos x="233" y="52"/>
              </a:cxn>
              <a:cxn ang="0">
                <a:pos x="221" y="72"/>
              </a:cxn>
              <a:cxn ang="0">
                <a:pos x="123" y="72"/>
              </a:cxn>
              <a:cxn ang="0">
                <a:pos x="81" y="6"/>
              </a:cxn>
              <a:cxn ang="0">
                <a:pos x="0" y="63"/>
              </a:cxn>
              <a:cxn ang="0">
                <a:pos x="45" y="135"/>
              </a:cxn>
              <a:cxn ang="0">
                <a:pos x="45" y="252"/>
              </a:cxn>
              <a:cxn ang="0">
                <a:pos x="181" y="252"/>
              </a:cxn>
              <a:cxn ang="0">
                <a:pos x="181" y="252"/>
              </a:cxn>
              <a:cxn ang="0">
                <a:pos x="261" y="188"/>
              </a:cxn>
              <a:cxn ang="0">
                <a:pos x="261" y="78"/>
              </a:cxn>
              <a:cxn ang="0">
                <a:pos x="300" y="0"/>
              </a:cxn>
              <a:cxn ang="0">
                <a:pos x="233" y="52"/>
              </a:cxn>
              <a:cxn ang="0">
                <a:pos x="118" y="91"/>
              </a:cxn>
              <a:cxn ang="0">
                <a:pos x="210" y="91"/>
              </a:cxn>
              <a:cxn ang="0">
                <a:pos x="188" y="130"/>
              </a:cxn>
              <a:cxn ang="0">
                <a:pos x="73" y="130"/>
              </a:cxn>
              <a:cxn ang="0">
                <a:pos x="118" y="91"/>
              </a:cxn>
              <a:cxn ang="0">
                <a:pos x="63" y="149"/>
              </a:cxn>
              <a:cxn ang="0">
                <a:pos x="181" y="149"/>
              </a:cxn>
              <a:cxn ang="0">
                <a:pos x="181" y="234"/>
              </a:cxn>
              <a:cxn ang="0">
                <a:pos x="64" y="234"/>
              </a:cxn>
              <a:cxn ang="0">
                <a:pos x="63" y="149"/>
              </a:cxn>
            </a:cxnLst>
            <a:rect l="0" t="0" r="r" b="b"/>
            <a:pathLst>
              <a:path w="300" h="252">
                <a:moveTo>
                  <a:pt x="233" y="52"/>
                </a:moveTo>
                <a:lnTo>
                  <a:pt x="221" y="72"/>
                </a:lnTo>
                <a:lnTo>
                  <a:pt x="123" y="72"/>
                </a:lnTo>
                <a:lnTo>
                  <a:pt x="81" y="6"/>
                </a:lnTo>
                <a:lnTo>
                  <a:pt x="0" y="63"/>
                </a:lnTo>
                <a:lnTo>
                  <a:pt x="45" y="135"/>
                </a:lnTo>
                <a:lnTo>
                  <a:pt x="45" y="252"/>
                </a:lnTo>
                <a:lnTo>
                  <a:pt x="181" y="252"/>
                </a:lnTo>
                <a:lnTo>
                  <a:pt x="181" y="252"/>
                </a:lnTo>
                <a:lnTo>
                  <a:pt x="261" y="188"/>
                </a:lnTo>
                <a:lnTo>
                  <a:pt x="261" y="78"/>
                </a:lnTo>
                <a:lnTo>
                  <a:pt x="300" y="0"/>
                </a:lnTo>
                <a:lnTo>
                  <a:pt x="233" y="52"/>
                </a:lnTo>
                <a:close/>
                <a:moveTo>
                  <a:pt x="118" y="91"/>
                </a:moveTo>
                <a:lnTo>
                  <a:pt x="210" y="91"/>
                </a:lnTo>
                <a:lnTo>
                  <a:pt x="188" y="130"/>
                </a:lnTo>
                <a:lnTo>
                  <a:pt x="73" y="130"/>
                </a:lnTo>
                <a:lnTo>
                  <a:pt x="118" y="91"/>
                </a:lnTo>
                <a:close/>
                <a:moveTo>
                  <a:pt x="63" y="149"/>
                </a:moveTo>
                <a:lnTo>
                  <a:pt x="181" y="149"/>
                </a:lnTo>
                <a:lnTo>
                  <a:pt x="181" y="234"/>
                </a:lnTo>
                <a:lnTo>
                  <a:pt x="64" y="234"/>
                </a:lnTo>
                <a:lnTo>
                  <a:pt x="63" y="149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accent1"/>
            </a:solidFill>
            <a:round/>
            <a:headEnd/>
            <a:tailEnd/>
          </a:ln>
        </p:spPr>
        <p:txBody>
          <a:bodyPr vert="horz" wrap="square" lIns="86608" tIns="43304" rIns="86608" bIns="4330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5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CEB7CA83-8A54-4B5D-A899-49A93413E92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959418" y="3984448"/>
            <a:ext cx="581025" cy="46672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B77F2F55-D46D-4962-AF0C-F8463BEAD89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050312" y="5286418"/>
            <a:ext cx="638175" cy="676275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D8E99159-1B80-41AB-A101-49EEB202F3E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201398" y="3219291"/>
            <a:ext cx="595553" cy="595553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93705C46-4DBC-497A-82C2-BEBF949E588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1248750" y="3805883"/>
            <a:ext cx="605818" cy="686594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02E09BD3-E930-432B-B4CA-D1555D89C511}"/>
              </a:ext>
            </a:extLst>
          </p:cNvPr>
          <p:cNvGrpSpPr/>
          <p:nvPr/>
        </p:nvGrpSpPr>
        <p:grpSpPr>
          <a:xfrm>
            <a:off x="1554737" y="2564957"/>
            <a:ext cx="5748086" cy="478290"/>
            <a:chOff x="377988" y="249490"/>
            <a:chExt cx="4523255" cy="499299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0929747A-29C0-40D5-92D3-C0F97A686B17}"/>
                </a:ext>
              </a:extLst>
            </p:cNvPr>
            <p:cNvSpPr/>
            <p:nvPr/>
          </p:nvSpPr>
          <p:spPr>
            <a:xfrm>
              <a:off x="377988" y="249490"/>
              <a:ext cx="4523255" cy="499299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B16A81D-5C72-410B-8352-EB7CECFAD5B5}"/>
                </a:ext>
              </a:extLst>
            </p:cNvPr>
            <p:cNvSpPr txBox="1"/>
            <p:nvPr/>
          </p:nvSpPr>
          <p:spPr>
            <a:xfrm>
              <a:off x="377988" y="249490"/>
              <a:ext cx="4523255" cy="49929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96319" tIns="35560" rIns="35560" bIns="3556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ocess &amp; Procedures Standardization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66" name="Rectángulo 59">
            <a:extLst>
              <a:ext uri="{FF2B5EF4-FFF2-40B4-BE49-F238E27FC236}">
                <a16:creationId xmlns:a16="http://schemas.microsoft.com/office/drawing/2014/main" id="{A0D35C62-9C9C-4C78-B935-4AF4D7E36817}"/>
              </a:ext>
            </a:extLst>
          </p:cNvPr>
          <p:cNvSpPr/>
          <p:nvPr/>
        </p:nvSpPr>
        <p:spPr>
          <a:xfrm>
            <a:off x="1569562" y="3092593"/>
            <a:ext cx="5725985" cy="3106827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7" name="Conector recto 6">
            <a:extLst>
              <a:ext uri="{FF2B5EF4-FFF2-40B4-BE49-F238E27FC236}">
                <a16:creationId xmlns:a16="http://schemas.microsoft.com/office/drawing/2014/main" id="{50490F52-B54B-4FBF-86D9-1111EA623604}"/>
              </a:ext>
            </a:extLst>
          </p:cNvPr>
          <p:cNvCxnSpPr>
            <a:cxnSpLocks/>
          </p:cNvCxnSpPr>
          <p:nvPr/>
        </p:nvCxnSpPr>
        <p:spPr>
          <a:xfrm>
            <a:off x="0" y="1332347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cto 8">
            <a:extLst>
              <a:ext uri="{FF2B5EF4-FFF2-40B4-BE49-F238E27FC236}">
                <a16:creationId xmlns:a16="http://schemas.microsoft.com/office/drawing/2014/main" id="{8EC5D861-AA3D-446A-B239-B7D1D05B1776}"/>
              </a:ext>
            </a:extLst>
          </p:cNvPr>
          <p:cNvCxnSpPr>
            <a:cxnSpLocks/>
          </p:cNvCxnSpPr>
          <p:nvPr/>
        </p:nvCxnSpPr>
        <p:spPr>
          <a:xfrm>
            <a:off x="0" y="1266879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0" name="Picture 69">
            <a:extLst>
              <a:ext uri="{FF2B5EF4-FFF2-40B4-BE49-F238E27FC236}">
                <a16:creationId xmlns:a16="http://schemas.microsoft.com/office/drawing/2014/main" id="{22BB8790-ABFA-436B-AAFD-215E152CE0D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2371" y="-20977"/>
            <a:ext cx="1997765" cy="2044661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84394F31-18A8-4FB2-88A5-743DE260D469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654033" y="113033"/>
            <a:ext cx="1525596" cy="1414460"/>
          </a:xfrm>
          <a:prstGeom prst="rect">
            <a:avLst/>
          </a:prstGeom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436FE0A0-E18E-4C90-B44C-D32F8FCD5B5A}"/>
              </a:ext>
            </a:extLst>
          </p:cNvPr>
          <p:cNvGrpSpPr/>
          <p:nvPr/>
        </p:nvGrpSpPr>
        <p:grpSpPr>
          <a:xfrm>
            <a:off x="-37578" y="2594629"/>
            <a:ext cx="1542951" cy="463232"/>
            <a:chOff x="-372248" y="249490"/>
            <a:chExt cx="5273491" cy="499299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F567B6DE-1300-48C9-81AB-801981F223FB}"/>
                </a:ext>
              </a:extLst>
            </p:cNvPr>
            <p:cNvSpPr/>
            <p:nvPr/>
          </p:nvSpPr>
          <p:spPr>
            <a:xfrm>
              <a:off x="377988" y="249490"/>
              <a:ext cx="4523255" cy="499299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F5CDAD3-8322-4329-8E19-BD9B8A52F929}"/>
                </a:ext>
              </a:extLst>
            </p:cNvPr>
            <p:cNvSpPr txBox="1"/>
            <p:nvPr/>
          </p:nvSpPr>
          <p:spPr>
            <a:xfrm>
              <a:off x="-372248" y="289994"/>
              <a:ext cx="5145057" cy="44159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96319" tIns="35560" rIns="35560" bIns="3556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chnological FootPrint</a:t>
              </a:r>
            </a:p>
          </p:txBody>
        </p:sp>
      </p:grpSp>
      <p:sp>
        <p:nvSpPr>
          <p:cNvPr id="50" name="Rectángulo 59">
            <a:extLst>
              <a:ext uri="{FF2B5EF4-FFF2-40B4-BE49-F238E27FC236}">
                <a16:creationId xmlns:a16="http://schemas.microsoft.com/office/drawing/2014/main" id="{03E21598-489D-430B-A99E-A2ADE808D819}"/>
              </a:ext>
            </a:extLst>
          </p:cNvPr>
          <p:cNvSpPr/>
          <p:nvPr/>
        </p:nvSpPr>
        <p:spPr>
          <a:xfrm>
            <a:off x="174655" y="3107207"/>
            <a:ext cx="1323442" cy="3106827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2BF4308-26D5-494B-AB2D-A4C1EA37502F}"/>
              </a:ext>
            </a:extLst>
          </p:cNvPr>
          <p:cNvSpPr/>
          <p:nvPr/>
        </p:nvSpPr>
        <p:spPr>
          <a:xfrm>
            <a:off x="-105199" y="4349606"/>
            <a:ext cx="18359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069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WM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069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stem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10069F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Graphic 6" descr="Syncing cloud">
            <a:extLst>
              <a:ext uri="{FF2B5EF4-FFF2-40B4-BE49-F238E27FC236}">
                <a16:creationId xmlns:a16="http://schemas.microsoft.com/office/drawing/2014/main" id="{1A3437AD-DDF1-4A10-9D35-40D9948B78B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13184" y="3820063"/>
            <a:ext cx="656988" cy="65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36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FC7AA823-3DC4-424A-9B71-69E540E5BDA4}"/>
              </a:ext>
            </a:extLst>
          </p:cNvPr>
          <p:cNvSpPr txBox="1">
            <a:spLocks/>
          </p:cNvSpPr>
          <p:nvPr/>
        </p:nvSpPr>
        <p:spPr>
          <a:xfrm>
            <a:off x="64856" y="123176"/>
            <a:ext cx="9323475" cy="673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>
              <a:defRPr/>
            </a:pPr>
            <a:r>
              <a:rPr lang="es-AR" sz="4000" dirty="0">
                <a:solidFill>
                  <a:schemeClr val="accent1"/>
                </a:solidFill>
              </a:rPr>
              <a:t>Objetivos Playbook</a:t>
            </a:r>
            <a:endParaRPr lang="en-US" sz="4000" dirty="0">
              <a:solidFill>
                <a:schemeClr val="accent1"/>
              </a:solidFill>
            </a:endParaRPr>
          </a:p>
        </p:txBody>
      </p:sp>
      <p:graphicFrame>
        <p:nvGraphicFramePr>
          <p:cNvPr id="27" name="Diagram 26">
            <a:extLst>
              <a:ext uri="{FF2B5EF4-FFF2-40B4-BE49-F238E27FC236}">
                <a16:creationId xmlns:a16="http://schemas.microsoft.com/office/drawing/2014/main" id="{BC818062-D604-4F73-A09A-A39DEF9098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0264139"/>
              </p:ext>
            </p:extLst>
          </p:nvPr>
        </p:nvGraphicFramePr>
        <p:xfrm>
          <a:off x="162559" y="808587"/>
          <a:ext cx="8175897" cy="55246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56" name="Isosceles Triangle 10">
            <a:extLst>
              <a:ext uri="{FF2B5EF4-FFF2-40B4-BE49-F238E27FC236}">
                <a16:creationId xmlns:a16="http://schemas.microsoft.com/office/drawing/2014/main" id="{CBC8BE3E-8BD1-4312-B65E-881F16E9F23A}"/>
              </a:ext>
            </a:extLst>
          </p:cNvPr>
          <p:cNvSpPr/>
          <p:nvPr/>
        </p:nvSpPr>
        <p:spPr>
          <a:xfrm rot="5400000" flipH="1">
            <a:off x="6134501" y="3317833"/>
            <a:ext cx="5049398" cy="438474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D490154-5005-45AC-B690-E42A845CAD31}"/>
              </a:ext>
            </a:extLst>
          </p:cNvPr>
          <p:cNvSpPr/>
          <p:nvPr/>
        </p:nvSpPr>
        <p:spPr>
          <a:xfrm>
            <a:off x="9061758" y="2708659"/>
            <a:ext cx="3021383" cy="20313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dirty="0"/>
              <a:t>DCs Propios KC 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dirty="0"/>
              <a:t>DCs Operados por 3PL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dirty="0"/>
              <a:t>Bodegas en Plantas KC 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dirty="0"/>
              <a:t>Bodegas Externas operadas por KC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dirty="0"/>
              <a:t>Bodegas Externas operadas 3PL</a:t>
            </a:r>
            <a:endParaRPr lang="en-US" dirty="0"/>
          </a:p>
        </p:txBody>
      </p:sp>
      <p:sp>
        <p:nvSpPr>
          <p:cNvPr id="14" name="Rectángulo 27">
            <a:extLst>
              <a:ext uri="{FF2B5EF4-FFF2-40B4-BE49-F238E27FC236}">
                <a16:creationId xmlns:a16="http://schemas.microsoft.com/office/drawing/2014/main" id="{DDD5A10B-5FFA-4031-A44D-03C5256F67A5}"/>
              </a:ext>
            </a:extLst>
          </p:cNvPr>
          <p:cNvSpPr/>
          <p:nvPr/>
        </p:nvSpPr>
        <p:spPr>
          <a:xfrm>
            <a:off x="9061759" y="2302815"/>
            <a:ext cx="3021382" cy="4058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pos de Operacion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AE2549-E87D-458E-AD24-29A079F73922}"/>
              </a:ext>
            </a:extLst>
          </p:cNvPr>
          <p:cNvSpPr/>
          <p:nvPr/>
        </p:nvSpPr>
        <p:spPr>
          <a:xfrm>
            <a:off x="5584048" y="6068216"/>
            <a:ext cx="2813719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200" dirty="0">
                <a:latin typeface="Arial" panose="020B0604020202020204" pitchFamily="34" charset="0"/>
                <a:ea typeface="Arial" panose="020B0604020202020204" pitchFamily="34" charset="0"/>
              </a:rPr>
              <a:t>*Alcance: Todos los Warehouses  LAO</a:t>
            </a:r>
          </a:p>
          <a:p>
            <a:r>
              <a:rPr lang="es-ES" dirty="0"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436368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679" y="870316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2200" b="0" dirty="0"/>
              <a:t>Modelo OPEX - Macro-Procesos para DCs LAO</a:t>
            </a:r>
            <a:br>
              <a:rPr lang="en-US" sz="4000" dirty="0"/>
            </a:br>
            <a:br>
              <a:rPr lang="en-US" sz="2200" dirty="0"/>
            </a:br>
            <a:r>
              <a:rPr lang="en-US" sz="2200" dirty="0"/>
              <a:t> </a:t>
            </a:r>
          </a:p>
        </p:txBody>
      </p:sp>
      <p:graphicFrame>
        <p:nvGraphicFramePr>
          <p:cNvPr id="23" name="Diagrama 22">
            <a:extLst>
              <a:ext uri="{FF2B5EF4-FFF2-40B4-BE49-F238E27FC236}">
                <a16:creationId xmlns:a16="http://schemas.microsoft.com/office/drawing/2014/main" id="{151B060D-DBD2-40BA-A603-1A32E7B2CC6E}"/>
              </a:ext>
            </a:extLst>
          </p:cNvPr>
          <p:cNvGraphicFramePr/>
          <p:nvPr/>
        </p:nvGraphicFramePr>
        <p:xfrm>
          <a:off x="-575511" y="1058558"/>
          <a:ext cx="13343022" cy="3997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4" name="Rectangle 9">
            <a:extLst>
              <a:ext uri="{FF2B5EF4-FFF2-40B4-BE49-F238E27FC236}">
                <a16:creationId xmlns:a16="http://schemas.microsoft.com/office/drawing/2014/main" id="{EDADF830-9B4C-4264-995D-F13D54C9E002}"/>
              </a:ext>
            </a:extLst>
          </p:cNvPr>
          <p:cNvSpPr/>
          <p:nvPr/>
        </p:nvSpPr>
        <p:spPr>
          <a:xfrm>
            <a:off x="8657633" y="1448434"/>
            <a:ext cx="3521624" cy="2675841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pport all activities for planning and executing physical inventory in the corrects way and preservation &amp; support all activities to manage a Warehous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ntory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rastructure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fe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y MOV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ources &amp; Capabiliti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ceabil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usekeep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 Service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port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cur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urement</a:t>
            </a:r>
          </a:p>
        </p:txBody>
      </p:sp>
      <p:sp>
        <p:nvSpPr>
          <p:cNvPr id="25" name="Rectangle 9">
            <a:extLst>
              <a:ext uri="{FF2B5EF4-FFF2-40B4-BE49-F238E27FC236}">
                <a16:creationId xmlns:a16="http://schemas.microsoft.com/office/drawing/2014/main" id="{E006E81D-BEE9-4304-9D8B-98DC83ACD666}"/>
              </a:ext>
            </a:extLst>
          </p:cNvPr>
          <p:cNvSpPr/>
          <p:nvPr/>
        </p:nvSpPr>
        <p:spPr>
          <a:xfrm>
            <a:off x="299823" y="1426106"/>
            <a:ext cx="2502157" cy="2120167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nal movements and storage of materia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orage/ Handl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k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oss Dock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/Re-Packing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rantine &amp;  Blocked</a:t>
            </a:r>
          </a:p>
        </p:txBody>
      </p:sp>
      <p:sp>
        <p:nvSpPr>
          <p:cNvPr id="26" name="Rectangle 9">
            <a:extLst>
              <a:ext uri="{FF2B5EF4-FFF2-40B4-BE49-F238E27FC236}">
                <a16:creationId xmlns:a16="http://schemas.microsoft.com/office/drawing/2014/main" id="{45A45246-9C2D-4BD9-9B39-E9F84D8BC61E}"/>
              </a:ext>
            </a:extLst>
          </p:cNvPr>
          <p:cNvSpPr/>
          <p:nvPr/>
        </p:nvSpPr>
        <p:spPr>
          <a:xfrm>
            <a:off x="370562" y="3759353"/>
            <a:ext cx="2517813" cy="163814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ludes all the steps of an external process that occur when the products are receiv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ption/ Receiv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urns</a:t>
            </a:r>
          </a:p>
        </p:txBody>
      </p:sp>
      <p:sp>
        <p:nvSpPr>
          <p:cNvPr id="27" name="Rectangle 9">
            <a:extLst>
              <a:ext uri="{FF2B5EF4-FFF2-40B4-BE49-F238E27FC236}">
                <a16:creationId xmlns:a16="http://schemas.microsoft.com/office/drawing/2014/main" id="{23F1CC98-D9BD-4C9D-913D-9B96C5F6009F}"/>
              </a:ext>
            </a:extLst>
          </p:cNvPr>
          <p:cNvSpPr/>
          <p:nvPr/>
        </p:nvSpPr>
        <p:spPr>
          <a:xfrm>
            <a:off x="9183141" y="4832397"/>
            <a:ext cx="2638297" cy="1390041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 the processes to prepares and ship products to their destin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ad/Shipp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king/Staging</a:t>
            </a:r>
          </a:p>
        </p:txBody>
      </p:sp>
      <p:sp>
        <p:nvSpPr>
          <p:cNvPr id="28" name="Rectángulo: esquinas redondeadas 27">
            <a:extLst>
              <a:ext uri="{FF2B5EF4-FFF2-40B4-BE49-F238E27FC236}">
                <a16:creationId xmlns:a16="http://schemas.microsoft.com/office/drawing/2014/main" id="{63A0EA45-F4ED-44A9-83AF-58A6E208ABEF}"/>
              </a:ext>
            </a:extLst>
          </p:cNvPr>
          <p:cNvSpPr/>
          <p:nvPr/>
        </p:nvSpPr>
        <p:spPr>
          <a:xfrm>
            <a:off x="4942313" y="5113535"/>
            <a:ext cx="2372887" cy="33437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spcFirstLastPara="0" vert="horz" wrap="square" lIns="8890" tIns="8890" rIns="8890" bIns="8890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ndards</a:t>
            </a:r>
          </a:p>
        </p:txBody>
      </p:sp>
      <p:sp>
        <p:nvSpPr>
          <p:cNvPr id="29" name="Rectángulo: esquinas redondeadas 28">
            <a:extLst>
              <a:ext uri="{FF2B5EF4-FFF2-40B4-BE49-F238E27FC236}">
                <a16:creationId xmlns:a16="http://schemas.microsoft.com/office/drawing/2014/main" id="{E757E299-6E9A-4E8B-A053-1888832B27A9}"/>
              </a:ext>
            </a:extLst>
          </p:cNvPr>
          <p:cNvSpPr/>
          <p:nvPr/>
        </p:nvSpPr>
        <p:spPr>
          <a:xfrm>
            <a:off x="4948441" y="5527418"/>
            <a:ext cx="2372887" cy="33437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rot="0" spcFirstLastPara="0" vertOverflow="overflow" horzOverflow="overflow" vert="horz" wrap="square" lIns="8890" tIns="8890" rIns="8890" bIns="8890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trics</a:t>
            </a:r>
          </a:p>
        </p:txBody>
      </p:sp>
      <p:sp>
        <p:nvSpPr>
          <p:cNvPr id="30" name="Rectángulo: esquinas redondeadas 29">
            <a:extLst>
              <a:ext uri="{FF2B5EF4-FFF2-40B4-BE49-F238E27FC236}">
                <a16:creationId xmlns:a16="http://schemas.microsoft.com/office/drawing/2014/main" id="{05F2657D-203E-49E7-AE12-8089F9597839}"/>
              </a:ext>
            </a:extLst>
          </p:cNvPr>
          <p:cNvSpPr/>
          <p:nvPr/>
        </p:nvSpPr>
        <p:spPr>
          <a:xfrm>
            <a:off x="4942313" y="5934079"/>
            <a:ext cx="2372887" cy="33437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rot="0" spcFirstLastPara="0" vertOverflow="overflow" horzOverflow="overflow" vert="horz" wrap="square" lIns="8890" tIns="8890" rIns="8890" bIns="8890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inues Improvement</a:t>
            </a:r>
          </a:p>
        </p:txBody>
      </p:sp>
      <p:cxnSp>
        <p:nvCxnSpPr>
          <p:cNvPr id="31" name="Straight Connector 23">
            <a:extLst>
              <a:ext uri="{FF2B5EF4-FFF2-40B4-BE49-F238E27FC236}">
                <a16:creationId xmlns:a16="http://schemas.microsoft.com/office/drawing/2014/main" id="{0CFFBC0C-9E9D-4A63-B139-968879621CB9}"/>
              </a:ext>
            </a:extLst>
          </p:cNvPr>
          <p:cNvCxnSpPr>
            <a:cxnSpLocks/>
          </p:cNvCxnSpPr>
          <p:nvPr/>
        </p:nvCxnSpPr>
        <p:spPr>
          <a:xfrm>
            <a:off x="2764439" y="3057134"/>
            <a:ext cx="2318029" cy="0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23">
            <a:extLst>
              <a:ext uri="{FF2B5EF4-FFF2-40B4-BE49-F238E27FC236}">
                <a16:creationId xmlns:a16="http://schemas.microsoft.com/office/drawing/2014/main" id="{5011950A-33E3-4052-8447-4AEDD50DF04E}"/>
              </a:ext>
            </a:extLst>
          </p:cNvPr>
          <p:cNvCxnSpPr>
            <a:cxnSpLocks/>
          </p:cNvCxnSpPr>
          <p:nvPr/>
        </p:nvCxnSpPr>
        <p:spPr>
          <a:xfrm>
            <a:off x="7884321" y="4925056"/>
            <a:ext cx="1298820" cy="0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23">
            <a:extLst>
              <a:ext uri="{FF2B5EF4-FFF2-40B4-BE49-F238E27FC236}">
                <a16:creationId xmlns:a16="http://schemas.microsoft.com/office/drawing/2014/main" id="{2E39BA93-ECF1-4B66-9471-07DE5B9E4436}"/>
              </a:ext>
            </a:extLst>
          </p:cNvPr>
          <p:cNvCxnSpPr>
            <a:cxnSpLocks/>
          </p:cNvCxnSpPr>
          <p:nvPr/>
        </p:nvCxnSpPr>
        <p:spPr>
          <a:xfrm>
            <a:off x="2882044" y="4326336"/>
            <a:ext cx="1614891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23">
            <a:extLst>
              <a:ext uri="{FF2B5EF4-FFF2-40B4-BE49-F238E27FC236}">
                <a16:creationId xmlns:a16="http://schemas.microsoft.com/office/drawing/2014/main" id="{ADB6873E-2D76-47FE-8882-A09F1FCBAF30}"/>
              </a:ext>
            </a:extLst>
          </p:cNvPr>
          <p:cNvCxnSpPr>
            <a:cxnSpLocks/>
          </p:cNvCxnSpPr>
          <p:nvPr/>
        </p:nvCxnSpPr>
        <p:spPr>
          <a:xfrm>
            <a:off x="6605337" y="2060389"/>
            <a:ext cx="1950834" cy="0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23">
            <a:extLst>
              <a:ext uri="{FF2B5EF4-FFF2-40B4-BE49-F238E27FC236}">
                <a16:creationId xmlns:a16="http://schemas.microsoft.com/office/drawing/2014/main" id="{DD244C9C-FD11-4D11-AA5E-84D50C07F201}"/>
              </a:ext>
            </a:extLst>
          </p:cNvPr>
          <p:cNvCxnSpPr>
            <a:cxnSpLocks/>
          </p:cNvCxnSpPr>
          <p:nvPr/>
        </p:nvCxnSpPr>
        <p:spPr>
          <a:xfrm flipV="1">
            <a:off x="2874028" y="3759353"/>
            <a:ext cx="0" cy="1521371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F9CE2F19-DB24-4335-B78E-1C595C1F0811}"/>
              </a:ext>
            </a:extLst>
          </p:cNvPr>
          <p:cNvCxnSpPr>
            <a:cxnSpLocks/>
          </p:cNvCxnSpPr>
          <p:nvPr/>
        </p:nvCxnSpPr>
        <p:spPr>
          <a:xfrm flipV="1">
            <a:off x="2764439" y="1628194"/>
            <a:ext cx="0" cy="1756114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23">
            <a:extLst>
              <a:ext uri="{FF2B5EF4-FFF2-40B4-BE49-F238E27FC236}">
                <a16:creationId xmlns:a16="http://schemas.microsoft.com/office/drawing/2014/main" id="{E070C590-DCBB-4BEA-985E-E5F19A9D8A21}"/>
              </a:ext>
            </a:extLst>
          </p:cNvPr>
          <p:cNvCxnSpPr>
            <a:cxnSpLocks/>
          </p:cNvCxnSpPr>
          <p:nvPr/>
        </p:nvCxnSpPr>
        <p:spPr>
          <a:xfrm flipV="1">
            <a:off x="9169191" y="4864653"/>
            <a:ext cx="0" cy="1221830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23">
            <a:extLst>
              <a:ext uri="{FF2B5EF4-FFF2-40B4-BE49-F238E27FC236}">
                <a16:creationId xmlns:a16="http://schemas.microsoft.com/office/drawing/2014/main" id="{7FFA2AA3-DA58-44B8-B02A-0EF4E474DB64}"/>
              </a:ext>
            </a:extLst>
          </p:cNvPr>
          <p:cNvCxnSpPr>
            <a:cxnSpLocks/>
          </p:cNvCxnSpPr>
          <p:nvPr/>
        </p:nvCxnSpPr>
        <p:spPr>
          <a:xfrm flipH="1" flipV="1">
            <a:off x="8585584" y="925978"/>
            <a:ext cx="29415" cy="3254136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Flecha: a la derecha 47">
            <a:extLst>
              <a:ext uri="{FF2B5EF4-FFF2-40B4-BE49-F238E27FC236}">
                <a16:creationId xmlns:a16="http://schemas.microsoft.com/office/drawing/2014/main" id="{88617A23-7721-481A-99ED-367A8B4C3099}"/>
              </a:ext>
            </a:extLst>
          </p:cNvPr>
          <p:cNvSpPr/>
          <p:nvPr/>
        </p:nvSpPr>
        <p:spPr>
          <a:xfrm>
            <a:off x="5196513" y="3946360"/>
            <a:ext cx="1876922" cy="355830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Flecha: a la derecha 48">
            <a:extLst>
              <a:ext uri="{FF2B5EF4-FFF2-40B4-BE49-F238E27FC236}">
                <a16:creationId xmlns:a16="http://schemas.microsoft.com/office/drawing/2014/main" id="{FACD262C-7F2D-42C6-B099-358EFB4B11B8}"/>
              </a:ext>
            </a:extLst>
          </p:cNvPr>
          <p:cNvSpPr/>
          <p:nvPr/>
        </p:nvSpPr>
        <p:spPr>
          <a:xfrm rot="16200000">
            <a:off x="5938315" y="2875476"/>
            <a:ext cx="380883" cy="30197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Flecha: a la derecha 49">
            <a:extLst>
              <a:ext uri="{FF2B5EF4-FFF2-40B4-BE49-F238E27FC236}">
                <a16:creationId xmlns:a16="http://schemas.microsoft.com/office/drawing/2014/main" id="{3E16E770-B90C-43D1-BE1D-10BCFE797FA0}"/>
              </a:ext>
            </a:extLst>
          </p:cNvPr>
          <p:cNvSpPr/>
          <p:nvPr/>
        </p:nvSpPr>
        <p:spPr>
          <a:xfrm rot="17628540">
            <a:off x="5069577" y="2892940"/>
            <a:ext cx="380883" cy="30197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Flecha: a la derecha 50">
            <a:extLst>
              <a:ext uri="{FF2B5EF4-FFF2-40B4-BE49-F238E27FC236}">
                <a16:creationId xmlns:a16="http://schemas.microsoft.com/office/drawing/2014/main" id="{2D687016-CEC1-4865-AAEE-E7001C594803}"/>
              </a:ext>
            </a:extLst>
          </p:cNvPr>
          <p:cNvSpPr/>
          <p:nvPr/>
        </p:nvSpPr>
        <p:spPr>
          <a:xfrm rot="14170453">
            <a:off x="6737519" y="2897136"/>
            <a:ext cx="380883" cy="30197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Flecha: curvada hacia la izquierda 10">
            <a:extLst>
              <a:ext uri="{FF2B5EF4-FFF2-40B4-BE49-F238E27FC236}">
                <a16:creationId xmlns:a16="http://schemas.microsoft.com/office/drawing/2014/main" id="{9B70936B-8BEC-4D08-97E9-B9CBDB4873B3}"/>
              </a:ext>
            </a:extLst>
          </p:cNvPr>
          <p:cNvSpPr/>
          <p:nvPr/>
        </p:nvSpPr>
        <p:spPr>
          <a:xfrm>
            <a:off x="7442522" y="5280724"/>
            <a:ext cx="289770" cy="334379"/>
          </a:xfrm>
          <a:prstGeom prst="curvedLeftArrow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Flecha: curvada hacia la izquierda 36">
            <a:extLst>
              <a:ext uri="{FF2B5EF4-FFF2-40B4-BE49-F238E27FC236}">
                <a16:creationId xmlns:a16="http://schemas.microsoft.com/office/drawing/2014/main" id="{1D04E0DC-37A0-458A-8D4E-F04593799475}"/>
              </a:ext>
            </a:extLst>
          </p:cNvPr>
          <p:cNvSpPr/>
          <p:nvPr/>
        </p:nvSpPr>
        <p:spPr>
          <a:xfrm>
            <a:off x="7442522" y="5741031"/>
            <a:ext cx="289770" cy="334379"/>
          </a:xfrm>
          <a:prstGeom prst="curvedLeftArrow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ítulo 1">
            <a:extLst>
              <a:ext uri="{FF2B5EF4-FFF2-40B4-BE49-F238E27FC236}">
                <a16:creationId xmlns:a16="http://schemas.microsoft.com/office/drawing/2014/main" id="{30821989-236B-4B92-A80B-993284017FEC}"/>
              </a:ext>
            </a:extLst>
          </p:cNvPr>
          <p:cNvSpPr txBox="1">
            <a:spLocks/>
          </p:cNvSpPr>
          <p:nvPr/>
        </p:nvSpPr>
        <p:spPr>
          <a:xfrm>
            <a:off x="64856" y="123176"/>
            <a:ext cx="9323475" cy="673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>
              <a:defRPr/>
            </a:pPr>
            <a:r>
              <a:rPr lang="es-AR" sz="4000" dirty="0">
                <a:solidFill>
                  <a:schemeClr val="accent1"/>
                </a:solidFill>
              </a:rPr>
              <a:t>Tipos de Procesos incluidos</a:t>
            </a:r>
            <a:endParaRPr lang="en-US" sz="4000" dirty="0">
              <a:solidFill>
                <a:schemeClr val="accent1"/>
              </a:solidFill>
            </a:endParaRPr>
          </a:p>
        </p:txBody>
      </p:sp>
      <p:sp>
        <p:nvSpPr>
          <p:cNvPr id="38" name="Rectángulo: esquinas redondeadas 14">
            <a:extLst>
              <a:ext uri="{FF2B5EF4-FFF2-40B4-BE49-F238E27FC236}">
                <a16:creationId xmlns:a16="http://schemas.microsoft.com/office/drawing/2014/main" id="{8C7E9DB6-EB79-469E-8934-D4961F97BC52}"/>
              </a:ext>
            </a:extLst>
          </p:cNvPr>
          <p:cNvSpPr/>
          <p:nvPr/>
        </p:nvSpPr>
        <p:spPr>
          <a:xfrm>
            <a:off x="3677314" y="1646512"/>
            <a:ext cx="1407671" cy="258634"/>
          </a:xfrm>
          <a:prstGeom prst="round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fety -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y</a:t>
            </a:r>
          </a:p>
        </p:txBody>
      </p:sp>
    </p:spTree>
    <p:extLst>
      <p:ext uri="{BB962C8B-B14F-4D97-AF65-F5344CB8AC3E}">
        <p14:creationId xmlns:p14="http://schemas.microsoft.com/office/powerpoint/2010/main" val="37896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FC7AA823-3DC4-424A-9B71-69E540E5BDA4}"/>
              </a:ext>
            </a:extLst>
          </p:cNvPr>
          <p:cNvSpPr txBox="1">
            <a:spLocks/>
          </p:cNvSpPr>
          <p:nvPr/>
        </p:nvSpPr>
        <p:spPr>
          <a:xfrm>
            <a:off x="64856" y="123176"/>
            <a:ext cx="9323475" cy="673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>
              <a:defRPr/>
            </a:pPr>
            <a:r>
              <a:rPr lang="es-AR" sz="4000" dirty="0">
                <a:solidFill>
                  <a:schemeClr val="accent1"/>
                </a:solidFill>
              </a:rPr>
              <a:t>Elementos incluidos por Proceso</a:t>
            </a:r>
            <a:endParaRPr lang="en-US" sz="4000" dirty="0">
              <a:solidFill>
                <a:schemeClr val="accent1"/>
              </a:solidFill>
            </a:endParaRPr>
          </a:p>
        </p:txBody>
      </p:sp>
      <p:sp>
        <p:nvSpPr>
          <p:cNvPr id="16" name="Rectángulo 6">
            <a:extLst>
              <a:ext uri="{FF2B5EF4-FFF2-40B4-BE49-F238E27FC236}">
                <a16:creationId xmlns:a16="http://schemas.microsoft.com/office/drawing/2014/main" id="{BDB47532-B92F-414C-9ECF-236B4C095F9F}"/>
              </a:ext>
            </a:extLst>
          </p:cNvPr>
          <p:cNvSpPr/>
          <p:nvPr/>
        </p:nvSpPr>
        <p:spPr>
          <a:xfrm>
            <a:off x="676428" y="1485256"/>
            <a:ext cx="6703947" cy="415498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AR" sz="2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cripcion general del proce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2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r>
              <a:rPr lang="es-AR" sz="2400" dirty="0">
                <a:solidFill>
                  <a:srgbClr val="292929"/>
                </a:solidFill>
              </a:rPr>
              <a:t>Metodología del Proceso</a:t>
            </a: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endParaRPr kumimoji="0" lang="es-AR" sz="2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r>
              <a:rPr lang="es-AR" sz="2400" dirty="0">
                <a:solidFill>
                  <a:srgbClr val="292929"/>
                </a:solidFill>
              </a:rPr>
              <a:t>Recursos necesarios</a:t>
            </a: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endParaRPr kumimoji="0" lang="es-AR" sz="2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r>
              <a:rPr lang="es-AR" sz="2400" dirty="0">
                <a:solidFill>
                  <a:srgbClr val="292929"/>
                </a:solidFill>
              </a:rPr>
              <a:t>Impactos de este proceso</a:t>
            </a: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endParaRPr kumimoji="0" lang="es-AR" sz="2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r>
              <a:rPr lang="es-AR" sz="2400" dirty="0">
                <a:solidFill>
                  <a:srgbClr val="292929"/>
                </a:solidFill>
              </a:rPr>
              <a:t>Cómo optimizar</a:t>
            </a: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endParaRPr lang="es-AR" sz="2400" dirty="0">
              <a:solidFill>
                <a:srgbClr val="292929"/>
              </a:solidFill>
            </a:endParaRPr>
          </a:p>
          <a:p>
            <a:pPr marL="342900" lvl="0" indent="-342900">
              <a:buFont typeface="Wingdings" panose="05000000000000000000" pitchFamily="2" charset="2"/>
              <a:buChar char="ü"/>
              <a:defRPr/>
            </a:pPr>
            <a:r>
              <a:rPr lang="es-AR" sz="2400" dirty="0">
                <a:solidFill>
                  <a:srgbClr val="292929"/>
                </a:solidFill>
              </a:rPr>
              <a:t>Soluciones</a:t>
            </a:r>
            <a:endParaRPr kumimoji="0" lang="es-AR" sz="2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142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FC7AA823-3DC4-424A-9B71-69E540E5BDA4}"/>
              </a:ext>
            </a:extLst>
          </p:cNvPr>
          <p:cNvSpPr txBox="1">
            <a:spLocks/>
          </p:cNvSpPr>
          <p:nvPr/>
        </p:nvSpPr>
        <p:spPr>
          <a:xfrm>
            <a:off x="34846" y="2346397"/>
            <a:ext cx="12157154" cy="14443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 algn="ctr">
              <a:defRPr/>
            </a:pPr>
            <a:r>
              <a:rPr lang="es-AR" sz="4400" dirty="0" err="1">
                <a:solidFill>
                  <a:schemeClr val="accent1"/>
                </a:solidFill>
              </a:rPr>
              <a:t>Distribution</a:t>
            </a:r>
            <a:r>
              <a:rPr lang="es-AR" sz="4400" dirty="0">
                <a:solidFill>
                  <a:schemeClr val="accent1"/>
                </a:solidFill>
              </a:rPr>
              <a:t> </a:t>
            </a:r>
            <a:r>
              <a:rPr lang="es-AR" sz="4400" dirty="0" err="1">
                <a:solidFill>
                  <a:schemeClr val="accent1"/>
                </a:solidFill>
              </a:rPr>
              <a:t>Dashboard</a:t>
            </a:r>
            <a:endParaRPr lang="es-AR" sz="4400" dirty="0">
              <a:solidFill>
                <a:schemeClr val="accent1"/>
              </a:solidFill>
            </a:endParaRPr>
          </a:p>
          <a:p>
            <a:pPr algn="ctr">
              <a:defRPr/>
            </a:pPr>
            <a:r>
              <a:rPr lang="es-AR" dirty="0" err="1">
                <a:solidFill>
                  <a:schemeClr val="accent1"/>
                </a:solidFill>
              </a:rPr>
              <a:t>Metricas</a:t>
            </a:r>
            <a:endParaRPr lang="es-AR" dirty="0">
              <a:solidFill>
                <a:schemeClr val="accent1"/>
              </a:solidFill>
            </a:endParaRPr>
          </a:p>
          <a:p>
            <a:pPr lvl="0" algn="ctr">
              <a:defRPr/>
            </a:pPr>
            <a:endParaRPr lang="en-US" sz="4400" dirty="0">
              <a:solidFill>
                <a:schemeClr val="accent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AE2549-E87D-458E-AD24-29A079F73922}"/>
              </a:ext>
            </a:extLst>
          </p:cNvPr>
          <p:cNvSpPr/>
          <p:nvPr/>
        </p:nvSpPr>
        <p:spPr>
          <a:xfrm>
            <a:off x="5584048" y="6068216"/>
            <a:ext cx="2439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200" dirty="0">
                <a:latin typeface="Arial" panose="020B0604020202020204" pitchFamily="34" charset="0"/>
                <a:ea typeface="Arial" panose="020B0604020202020204" pitchFamily="34" charset="0"/>
              </a:rPr>
              <a:t>*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135910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FC7AA823-3DC4-424A-9B71-69E540E5BDA4}"/>
              </a:ext>
            </a:extLst>
          </p:cNvPr>
          <p:cNvSpPr txBox="1">
            <a:spLocks/>
          </p:cNvSpPr>
          <p:nvPr/>
        </p:nvSpPr>
        <p:spPr>
          <a:xfrm>
            <a:off x="61052" y="106866"/>
            <a:ext cx="9323475" cy="673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</a:rPr>
              <a:t>Multifunctional Team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E83B35C-B5CE-4156-A135-788CF834BC5E}"/>
              </a:ext>
            </a:extLst>
          </p:cNvPr>
          <p:cNvSpPr/>
          <p:nvPr/>
        </p:nvSpPr>
        <p:spPr>
          <a:xfrm>
            <a:off x="775068" y="1628845"/>
            <a:ext cx="5386245" cy="397031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tribution 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AO-– </a:t>
            </a:r>
            <a:r>
              <a:rPr lang="es-AR" dirty="0"/>
              <a:t>Mariana Monso -  Jose Luis Zavala. </a:t>
            </a:r>
            <a:r>
              <a:rPr lang="es-AR" dirty="0" err="1"/>
              <a:t>Validacion</a:t>
            </a:r>
            <a:r>
              <a:rPr lang="es-AR" dirty="0"/>
              <a:t>: Hector Hormaeche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s-AR" dirty="0">
                <a:solidFill>
                  <a:srgbClr val="292929"/>
                </a:solidFill>
                <a:latin typeface="Arial" panose="020B0604020202020204"/>
              </a:rPr>
              <a:t>NLAO----- </a:t>
            </a:r>
            <a:r>
              <a:rPr lang="es-CR" dirty="0"/>
              <a:t>Carlos Garcia Flores – </a:t>
            </a:r>
            <a:r>
              <a:rPr lang="es-CR" dirty="0" err="1"/>
              <a:t>Validacion</a:t>
            </a:r>
            <a:r>
              <a:rPr lang="es-CR" dirty="0"/>
              <a:t>: Miguel Better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SIL--– </a:t>
            </a:r>
            <a:r>
              <a:rPr lang="es-AR" dirty="0"/>
              <a:t>Carlos Paiva - </a:t>
            </a:r>
            <a:r>
              <a:rPr lang="es-AR" dirty="0">
                <a:solidFill>
                  <a:srgbClr val="292929"/>
                </a:solidFill>
              </a:rPr>
              <a:t>Alan Silva</a:t>
            </a:r>
            <a:r>
              <a:rPr lang="es-AR" dirty="0"/>
              <a:t> 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AR" dirty="0">
                <a:solidFill>
                  <a:srgbClr val="292929"/>
                </a:solidFill>
                <a:latin typeface="Arial" panose="020B0604020202020204"/>
              </a:rPr>
              <a:t>Project </a:t>
            </a:r>
            <a:r>
              <a:rPr lang="es-AR" dirty="0" err="1">
                <a:solidFill>
                  <a:srgbClr val="292929"/>
                </a:solidFill>
                <a:latin typeface="Arial" panose="020B0604020202020204"/>
              </a:rPr>
              <a:t>Team</a:t>
            </a:r>
            <a:r>
              <a:rPr lang="es-AR" dirty="0">
                <a:solidFill>
                  <a:srgbClr val="292929"/>
                </a:solidFill>
                <a:latin typeface="Arial" panose="020B0604020202020204"/>
              </a:rPr>
              <a:t>: Ignacio Trejos – Deivis Attuy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T: </a:t>
            </a:r>
            <a:r>
              <a:rPr lang="en-US" dirty="0">
                <a:solidFill>
                  <a:srgbClr val="292929"/>
                </a:solidFill>
              </a:rPr>
              <a:t>Emilia </a:t>
            </a:r>
            <a:r>
              <a:rPr lang="en-US" dirty="0" err="1">
                <a:solidFill>
                  <a:srgbClr val="292929"/>
                </a:solidFill>
              </a:rPr>
              <a:t>Muñiz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ional Support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s-AR" dirty="0"/>
              <a:t>LAO COE – Connie Clark 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s-AR" dirty="0"/>
              <a:t>LAO COE – Adrian M</a:t>
            </a:r>
            <a:r>
              <a:rPr lang="es-AR" dirty="0">
                <a:solidFill>
                  <a:srgbClr val="292929"/>
                </a:solidFill>
              </a:rPr>
              <a:t>ato Monge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O EHS </a:t>
            </a:r>
            <a:r>
              <a:rPr lang="es-AR" dirty="0">
                <a:solidFill>
                  <a:srgbClr val="292929"/>
                </a:solidFill>
                <a:latin typeface="Arial" panose="020B0604020202020204"/>
              </a:rPr>
              <a:t>  - Iban Perez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y MOVE – </a:t>
            </a:r>
            <a:r>
              <a:rPr lang="es-AR" dirty="0">
                <a:solidFill>
                  <a:srgbClr val="292929"/>
                </a:solidFill>
                <a:latin typeface="Arial" panose="020B0604020202020204"/>
              </a:rPr>
              <a:t>Karime Ardila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O </a:t>
            </a:r>
            <a:r>
              <a:rPr lang="es-AR" dirty="0">
                <a:solidFill>
                  <a:srgbClr val="292929"/>
                </a:solidFill>
                <a:latin typeface="Arial" panose="020B0604020202020204"/>
              </a:rPr>
              <a:t>D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S –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ward Leon </a:t>
            </a: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Rectángulo 27">
            <a:extLst>
              <a:ext uri="{FF2B5EF4-FFF2-40B4-BE49-F238E27FC236}">
                <a16:creationId xmlns:a16="http://schemas.microsoft.com/office/drawing/2014/main" id="{0ACC091A-39B8-4D61-AB96-FCF0A091FE3C}"/>
              </a:ext>
            </a:extLst>
          </p:cNvPr>
          <p:cNvSpPr/>
          <p:nvPr/>
        </p:nvSpPr>
        <p:spPr>
          <a:xfrm>
            <a:off x="775069" y="1223000"/>
            <a:ext cx="5386244" cy="4456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re Project Team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EE2CB1-CC9F-413C-9D38-EAFA9C1D320A}"/>
              </a:ext>
            </a:extLst>
          </p:cNvPr>
          <p:cNvSpPr/>
          <p:nvPr/>
        </p:nvSpPr>
        <p:spPr>
          <a:xfrm>
            <a:off x="6794865" y="2284301"/>
            <a:ext cx="4685212" cy="36933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s-AR" dirty="0"/>
              <a:t>Fabian Ognian</a:t>
            </a:r>
            <a:endParaRPr kumimoji="0" lang="es-C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ángulo 27">
            <a:extLst>
              <a:ext uri="{FF2B5EF4-FFF2-40B4-BE49-F238E27FC236}">
                <a16:creationId xmlns:a16="http://schemas.microsoft.com/office/drawing/2014/main" id="{C87A8292-A61E-4244-AC81-D1B86D6AFEBD}"/>
              </a:ext>
            </a:extLst>
          </p:cNvPr>
          <p:cNvSpPr/>
          <p:nvPr/>
        </p:nvSpPr>
        <p:spPr>
          <a:xfrm>
            <a:off x="6794865" y="1878457"/>
            <a:ext cx="4685212" cy="4058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onsor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6F955DC-DFD7-49EB-87E9-A8B5B72F5B49}"/>
              </a:ext>
            </a:extLst>
          </p:cNvPr>
          <p:cNvSpPr/>
          <p:nvPr/>
        </p:nvSpPr>
        <p:spPr>
          <a:xfrm>
            <a:off x="6794862" y="3188511"/>
            <a:ext cx="4685212" cy="147732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s-AR" dirty="0"/>
              <a:t>Danielle Guimaraes 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s-CR" dirty="0">
                <a:solidFill>
                  <a:srgbClr val="292929"/>
                </a:solidFill>
              </a:rPr>
              <a:t>Lucas van Domselaar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s-CR" dirty="0">
                <a:solidFill>
                  <a:srgbClr val="292929"/>
                </a:solidFill>
              </a:rPr>
              <a:t>Roberto Chave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s-CR" dirty="0">
                <a:solidFill>
                  <a:srgbClr val="292929"/>
                </a:solidFill>
              </a:rPr>
              <a:t>Marcio Kawamur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ángulo 27">
            <a:extLst>
              <a:ext uri="{FF2B5EF4-FFF2-40B4-BE49-F238E27FC236}">
                <a16:creationId xmlns:a16="http://schemas.microsoft.com/office/drawing/2014/main" id="{A796C479-0AA7-4106-8759-1BFA418D242D}"/>
              </a:ext>
            </a:extLst>
          </p:cNvPr>
          <p:cNvSpPr/>
          <p:nvPr/>
        </p:nvSpPr>
        <p:spPr>
          <a:xfrm>
            <a:off x="6794862" y="2782667"/>
            <a:ext cx="4685212" cy="4058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keholders</a:t>
            </a:r>
          </a:p>
        </p:txBody>
      </p:sp>
    </p:spTree>
    <p:extLst>
      <p:ext uri="{BB962C8B-B14F-4D97-AF65-F5344CB8AC3E}">
        <p14:creationId xmlns:p14="http://schemas.microsoft.com/office/powerpoint/2010/main" val="388555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pic>
        <p:nvPicPr>
          <p:cNvPr id="41" name="Imagen 11">
            <a:extLst>
              <a:ext uri="{FF2B5EF4-FFF2-40B4-BE49-F238E27FC236}">
                <a16:creationId xmlns:a16="http://schemas.microsoft.com/office/drawing/2014/main" id="{E4F2B542-F92C-4FB6-A5B6-0DFFC92E206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42" name="Imagen 4">
            <a:extLst>
              <a:ext uri="{FF2B5EF4-FFF2-40B4-BE49-F238E27FC236}">
                <a16:creationId xmlns:a16="http://schemas.microsoft.com/office/drawing/2014/main" id="{09F714C1-A5C3-4B9C-845F-3BEF6E4B399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43" name="Título 1">
            <a:extLst>
              <a:ext uri="{FF2B5EF4-FFF2-40B4-BE49-F238E27FC236}">
                <a16:creationId xmlns:a16="http://schemas.microsoft.com/office/drawing/2014/main" id="{6E94E3D6-1C39-4B85-B9C3-B3A6B28F63C2}"/>
              </a:ext>
            </a:extLst>
          </p:cNvPr>
          <p:cNvSpPr txBox="1">
            <a:spLocks/>
          </p:cNvSpPr>
          <p:nvPr/>
        </p:nvSpPr>
        <p:spPr>
          <a:xfrm>
            <a:off x="99239" y="69083"/>
            <a:ext cx="9323475" cy="673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s-AR" sz="4000" dirty="0"/>
              <a:t>Timeline </a:t>
            </a:r>
          </a:p>
        </p:txBody>
      </p:sp>
      <p:sp>
        <p:nvSpPr>
          <p:cNvPr id="47" name="Speech Bubble: Rectangle 57">
            <a:extLst>
              <a:ext uri="{FF2B5EF4-FFF2-40B4-BE49-F238E27FC236}">
                <a16:creationId xmlns:a16="http://schemas.microsoft.com/office/drawing/2014/main" id="{81DD54C2-9822-4EE3-8581-8BEBBD700052}"/>
              </a:ext>
            </a:extLst>
          </p:cNvPr>
          <p:cNvSpPr/>
          <p:nvPr/>
        </p:nvSpPr>
        <p:spPr>
          <a:xfrm>
            <a:off x="179108" y="1400764"/>
            <a:ext cx="1795974" cy="673448"/>
          </a:xfrm>
          <a:prstGeom prst="wedgeRectCallout">
            <a:avLst>
              <a:gd name="adj1" fmla="val -20833"/>
              <a:gd name="adj2" fmla="val 25141"/>
            </a:avLst>
          </a:prstGeom>
          <a:solidFill>
            <a:schemeClr val="accent1">
              <a:lumMod val="60000"/>
              <a:lumOff val="4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1" i="0" u="none" strike="noStrike" kern="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BOUND</a:t>
            </a:r>
          </a:p>
        </p:txBody>
      </p:sp>
      <p:sp>
        <p:nvSpPr>
          <p:cNvPr id="48" name="Speech Bubble: Rectangle 57">
            <a:extLst>
              <a:ext uri="{FF2B5EF4-FFF2-40B4-BE49-F238E27FC236}">
                <a16:creationId xmlns:a16="http://schemas.microsoft.com/office/drawing/2014/main" id="{FBD67490-941D-4B4C-A6C7-074B29CC82C0}"/>
              </a:ext>
            </a:extLst>
          </p:cNvPr>
          <p:cNvSpPr/>
          <p:nvPr/>
        </p:nvSpPr>
        <p:spPr>
          <a:xfrm>
            <a:off x="179107" y="3009249"/>
            <a:ext cx="1785988" cy="680424"/>
          </a:xfrm>
          <a:prstGeom prst="wedgeRectCallout">
            <a:avLst>
              <a:gd name="adj1" fmla="val -20833"/>
              <a:gd name="adj2" fmla="val 25141"/>
            </a:avLst>
          </a:prstGeom>
          <a:solidFill>
            <a:schemeClr val="accent3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1" i="0" u="none" strike="noStrike" kern="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1" i="0" u="none" strike="noStrike" kern="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TBOUND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1" i="0" u="none" strike="noStrike" kern="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Speech Bubble: Rectangle 57">
            <a:extLst>
              <a:ext uri="{FF2B5EF4-FFF2-40B4-BE49-F238E27FC236}">
                <a16:creationId xmlns:a16="http://schemas.microsoft.com/office/drawing/2014/main" id="{024136D5-03BA-423D-82FB-402ADFC185D5}"/>
              </a:ext>
            </a:extLst>
          </p:cNvPr>
          <p:cNvSpPr/>
          <p:nvPr/>
        </p:nvSpPr>
        <p:spPr>
          <a:xfrm>
            <a:off x="118985" y="3814953"/>
            <a:ext cx="1846109" cy="666181"/>
          </a:xfrm>
          <a:prstGeom prst="wedgeRectCallout">
            <a:avLst>
              <a:gd name="adj1" fmla="val -20833"/>
              <a:gd name="adj2" fmla="val 25141"/>
            </a:avLst>
          </a:prstGeom>
          <a:solidFill>
            <a:schemeClr val="accent6">
              <a:lumMod val="75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NAGEMENT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Speech Bubble: Rectangle 57">
            <a:extLst>
              <a:ext uri="{FF2B5EF4-FFF2-40B4-BE49-F238E27FC236}">
                <a16:creationId xmlns:a16="http://schemas.microsoft.com/office/drawing/2014/main" id="{59FE1A51-BE0B-408C-AC82-35127CB87AFB}"/>
              </a:ext>
            </a:extLst>
          </p:cNvPr>
          <p:cNvSpPr/>
          <p:nvPr/>
        </p:nvSpPr>
        <p:spPr>
          <a:xfrm>
            <a:off x="118985" y="4628194"/>
            <a:ext cx="1846109" cy="662718"/>
          </a:xfrm>
          <a:prstGeom prst="wedgeRectCallout">
            <a:avLst>
              <a:gd name="adj1" fmla="val -20833"/>
              <a:gd name="adj2" fmla="val 25141"/>
            </a:avLst>
          </a:prstGeom>
          <a:solidFill>
            <a:srgbClr val="00B050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400" kern="0" dirty="0">
                <a:solidFill>
                  <a:srgbClr val="FFFFFF"/>
                </a:solidFill>
              </a:rPr>
              <a:t>Playbook</a:t>
            </a:r>
          </a:p>
          <a:p>
            <a:pPr lvl="0" algn="ctr"/>
            <a:r>
              <a:rPr lang="en-US" sz="1400" kern="0" dirty="0">
                <a:solidFill>
                  <a:srgbClr val="FFFFFF"/>
                </a:solidFill>
              </a:rPr>
              <a:t>Review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Speech Bubble: Rectangle 57">
            <a:extLst>
              <a:ext uri="{FF2B5EF4-FFF2-40B4-BE49-F238E27FC236}">
                <a16:creationId xmlns:a16="http://schemas.microsoft.com/office/drawing/2014/main" id="{A5661F1B-67AC-4918-832B-1FAA4B97C750}"/>
              </a:ext>
            </a:extLst>
          </p:cNvPr>
          <p:cNvSpPr/>
          <p:nvPr/>
        </p:nvSpPr>
        <p:spPr>
          <a:xfrm>
            <a:off x="179106" y="2203927"/>
            <a:ext cx="1795975" cy="678398"/>
          </a:xfrm>
          <a:prstGeom prst="wedgeRectCallout">
            <a:avLst>
              <a:gd name="adj1" fmla="val -20833"/>
              <a:gd name="adj2" fmla="val 25141"/>
            </a:avLst>
          </a:prstGeom>
          <a:solidFill>
            <a:srgbClr val="FF0000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1" i="0" u="none" strike="noStrike" kern="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1" i="0" u="none" strike="noStrike" kern="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ORAGE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400" b="1" i="0" u="none" strike="noStrike" kern="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3" name="Round Same Side Corner Rectangle 69">
            <a:extLst>
              <a:ext uri="{FF2B5EF4-FFF2-40B4-BE49-F238E27FC236}">
                <a16:creationId xmlns:a16="http://schemas.microsoft.com/office/drawing/2014/main" id="{0F2783EA-5FCB-4074-8E8C-08800DCF0B18}"/>
              </a:ext>
            </a:extLst>
          </p:cNvPr>
          <p:cNvSpPr/>
          <p:nvPr/>
        </p:nvSpPr>
        <p:spPr>
          <a:xfrm>
            <a:off x="2114252" y="911089"/>
            <a:ext cx="1074420" cy="523220"/>
          </a:xfrm>
          <a:prstGeom prst="round2Same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n</a:t>
            </a:r>
          </a:p>
        </p:txBody>
      </p:sp>
      <p:sp>
        <p:nvSpPr>
          <p:cNvPr id="55" name="Round Same Side Corner Rectangle 69">
            <a:extLst>
              <a:ext uri="{FF2B5EF4-FFF2-40B4-BE49-F238E27FC236}">
                <a16:creationId xmlns:a16="http://schemas.microsoft.com/office/drawing/2014/main" id="{215312B3-1C6A-4FFF-9A10-27464B021A68}"/>
              </a:ext>
            </a:extLst>
          </p:cNvPr>
          <p:cNvSpPr/>
          <p:nvPr/>
        </p:nvSpPr>
        <p:spPr>
          <a:xfrm>
            <a:off x="4584705" y="911089"/>
            <a:ext cx="1173834" cy="523220"/>
          </a:xfrm>
          <a:prstGeom prst="round2Same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</a:t>
            </a:r>
          </a:p>
        </p:txBody>
      </p:sp>
      <p:sp>
        <p:nvSpPr>
          <p:cNvPr id="71" name="Round Same Side Corner Rectangle 69">
            <a:extLst>
              <a:ext uri="{FF2B5EF4-FFF2-40B4-BE49-F238E27FC236}">
                <a16:creationId xmlns:a16="http://schemas.microsoft.com/office/drawing/2014/main" id="{FD965919-3664-4E78-AD19-B66DB7B15778}"/>
              </a:ext>
            </a:extLst>
          </p:cNvPr>
          <p:cNvSpPr/>
          <p:nvPr/>
        </p:nvSpPr>
        <p:spPr>
          <a:xfrm>
            <a:off x="3357258" y="911089"/>
            <a:ext cx="1074420" cy="523220"/>
          </a:xfrm>
          <a:prstGeom prst="round2Same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b</a:t>
            </a:r>
          </a:p>
        </p:txBody>
      </p:sp>
      <p:sp>
        <p:nvSpPr>
          <p:cNvPr id="72" name="Arrow: Right 71">
            <a:extLst>
              <a:ext uri="{FF2B5EF4-FFF2-40B4-BE49-F238E27FC236}">
                <a16:creationId xmlns:a16="http://schemas.microsoft.com/office/drawing/2014/main" id="{845D5D34-7A2F-463F-A983-810EE4B24158}"/>
              </a:ext>
            </a:extLst>
          </p:cNvPr>
          <p:cNvSpPr/>
          <p:nvPr/>
        </p:nvSpPr>
        <p:spPr>
          <a:xfrm>
            <a:off x="3072525" y="1571767"/>
            <a:ext cx="1074420" cy="4308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037A45AB-979F-46BE-9ABF-17DF931F1AD0}"/>
              </a:ext>
            </a:extLst>
          </p:cNvPr>
          <p:cNvCxnSpPr>
            <a:cxnSpLocks/>
          </p:cNvCxnSpPr>
          <p:nvPr/>
        </p:nvCxnSpPr>
        <p:spPr>
          <a:xfrm>
            <a:off x="9271219" y="1571767"/>
            <a:ext cx="0" cy="4312213"/>
          </a:xfrm>
          <a:prstGeom prst="line">
            <a:avLst/>
          </a:prstGeom>
          <a:ln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Arrow: Right 74">
            <a:extLst>
              <a:ext uri="{FF2B5EF4-FFF2-40B4-BE49-F238E27FC236}">
                <a16:creationId xmlns:a16="http://schemas.microsoft.com/office/drawing/2014/main" id="{082F5F26-28C7-4B21-B618-F61254261FB4}"/>
              </a:ext>
            </a:extLst>
          </p:cNvPr>
          <p:cNvSpPr/>
          <p:nvPr/>
        </p:nvSpPr>
        <p:spPr>
          <a:xfrm>
            <a:off x="5527973" y="3990456"/>
            <a:ext cx="2463224" cy="4502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pic>
        <p:nvPicPr>
          <p:cNvPr id="77" name="Graphic 76" descr="Bullseye">
            <a:extLst>
              <a:ext uri="{FF2B5EF4-FFF2-40B4-BE49-F238E27FC236}">
                <a16:creationId xmlns:a16="http://schemas.microsoft.com/office/drawing/2014/main" id="{2654F6B7-14C0-48F8-9322-688426461E1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31811" y="4484990"/>
            <a:ext cx="492134" cy="492134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94C1F07B-1C49-4ADF-9495-143B06CEB283}"/>
              </a:ext>
            </a:extLst>
          </p:cNvPr>
          <p:cNvSpPr/>
          <p:nvPr/>
        </p:nvSpPr>
        <p:spPr>
          <a:xfrm>
            <a:off x="8883648" y="4418835"/>
            <a:ext cx="1029448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s-AR" sz="14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Playbook </a:t>
            </a:r>
          </a:p>
          <a:p>
            <a:pPr algn="ctr"/>
            <a:r>
              <a:rPr lang="es-AR" sz="14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Phase 1 </a:t>
            </a:r>
          </a:p>
        </p:txBody>
      </p:sp>
      <p:sp>
        <p:nvSpPr>
          <p:cNvPr id="80" name="Round Same Side Corner Rectangle 69">
            <a:extLst>
              <a:ext uri="{FF2B5EF4-FFF2-40B4-BE49-F238E27FC236}">
                <a16:creationId xmlns:a16="http://schemas.microsoft.com/office/drawing/2014/main" id="{B0C05E2A-0527-43D4-9C30-FC4E2D2DD2B7}"/>
              </a:ext>
            </a:extLst>
          </p:cNvPr>
          <p:cNvSpPr/>
          <p:nvPr/>
        </p:nvSpPr>
        <p:spPr>
          <a:xfrm>
            <a:off x="5882531" y="911089"/>
            <a:ext cx="1173834" cy="523220"/>
          </a:xfrm>
          <a:prstGeom prst="round2Same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r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Round Same Side Corner Rectangle 69">
            <a:extLst>
              <a:ext uri="{FF2B5EF4-FFF2-40B4-BE49-F238E27FC236}">
                <a16:creationId xmlns:a16="http://schemas.microsoft.com/office/drawing/2014/main" id="{9556BC6E-382C-4540-A486-6EF997C34D89}"/>
              </a:ext>
            </a:extLst>
          </p:cNvPr>
          <p:cNvSpPr/>
          <p:nvPr/>
        </p:nvSpPr>
        <p:spPr>
          <a:xfrm>
            <a:off x="7216234" y="897514"/>
            <a:ext cx="1173834" cy="523220"/>
          </a:xfrm>
          <a:prstGeom prst="round2Same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y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Round Same Side Corner Rectangle 69">
            <a:extLst>
              <a:ext uri="{FF2B5EF4-FFF2-40B4-BE49-F238E27FC236}">
                <a16:creationId xmlns:a16="http://schemas.microsoft.com/office/drawing/2014/main" id="{E3572FE6-3FCC-4119-B824-FE533D24EED1}"/>
              </a:ext>
            </a:extLst>
          </p:cNvPr>
          <p:cNvSpPr/>
          <p:nvPr/>
        </p:nvSpPr>
        <p:spPr>
          <a:xfrm>
            <a:off x="8536214" y="911085"/>
            <a:ext cx="1173834" cy="523220"/>
          </a:xfrm>
          <a:prstGeom prst="round2Same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n</a:t>
            </a:r>
          </a:p>
        </p:txBody>
      </p:sp>
      <p:sp>
        <p:nvSpPr>
          <p:cNvPr id="87" name="Arrow: Right 86">
            <a:extLst>
              <a:ext uri="{FF2B5EF4-FFF2-40B4-BE49-F238E27FC236}">
                <a16:creationId xmlns:a16="http://schemas.microsoft.com/office/drawing/2014/main" id="{42F60FDC-08CD-48AB-AAD5-A23498BB4646}"/>
              </a:ext>
            </a:extLst>
          </p:cNvPr>
          <p:cNvSpPr/>
          <p:nvPr/>
        </p:nvSpPr>
        <p:spPr>
          <a:xfrm>
            <a:off x="8641950" y="4875899"/>
            <a:ext cx="1072031" cy="425172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8" name="Round Same Side Corner Rectangle 69">
            <a:extLst>
              <a:ext uri="{FF2B5EF4-FFF2-40B4-BE49-F238E27FC236}">
                <a16:creationId xmlns:a16="http://schemas.microsoft.com/office/drawing/2014/main" id="{73D83180-C7BE-4F56-A242-6FB22FD5AD37}"/>
              </a:ext>
            </a:extLst>
          </p:cNvPr>
          <p:cNvSpPr/>
          <p:nvPr/>
        </p:nvSpPr>
        <p:spPr>
          <a:xfrm>
            <a:off x="9871027" y="896510"/>
            <a:ext cx="1173834" cy="523220"/>
          </a:xfrm>
          <a:prstGeom prst="round2Same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3 – Q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1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DB8339BE-8C7B-493A-9B85-40E566B6F387}"/>
              </a:ext>
            </a:extLst>
          </p:cNvPr>
          <p:cNvSpPr/>
          <p:nvPr/>
        </p:nvSpPr>
        <p:spPr>
          <a:xfrm>
            <a:off x="5758539" y="3510058"/>
            <a:ext cx="246323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/>
              <a:t>Multifunctional Teams </a:t>
            </a:r>
          </a:p>
          <a:p>
            <a:pPr algn="ctr"/>
            <a:r>
              <a:rPr lang="en-US" dirty="0"/>
              <a:t> Alignment</a:t>
            </a:r>
          </a:p>
        </p:txBody>
      </p:sp>
      <p:sp>
        <p:nvSpPr>
          <p:cNvPr id="36" name="Arrow: Right 35">
            <a:extLst>
              <a:ext uri="{FF2B5EF4-FFF2-40B4-BE49-F238E27FC236}">
                <a16:creationId xmlns:a16="http://schemas.microsoft.com/office/drawing/2014/main" id="{2582D1C2-CF15-4116-8921-5F5996CAE2B4}"/>
              </a:ext>
            </a:extLst>
          </p:cNvPr>
          <p:cNvSpPr/>
          <p:nvPr/>
        </p:nvSpPr>
        <p:spPr>
          <a:xfrm>
            <a:off x="3932725" y="2285222"/>
            <a:ext cx="1074420" cy="4308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sp>
        <p:nvSpPr>
          <p:cNvPr id="37" name="Arrow: Right 36">
            <a:extLst>
              <a:ext uri="{FF2B5EF4-FFF2-40B4-BE49-F238E27FC236}">
                <a16:creationId xmlns:a16="http://schemas.microsoft.com/office/drawing/2014/main" id="{6BA7B740-87A0-435B-8B20-A0F36883D746}"/>
              </a:ext>
            </a:extLst>
          </p:cNvPr>
          <p:cNvSpPr/>
          <p:nvPr/>
        </p:nvSpPr>
        <p:spPr>
          <a:xfrm>
            <a:off x="5084813" y="3009249"/>
            <a:ext cx="1074420" cy="4308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dirty="0"/>
          </a:p>
        </p:txBody>
      </p:sp>
      <p:pic>
        <p:nvPicPr>
          <p:cNvPr id="38" name="Graphic 37" descr="Bullseye">
            <a:extLst>
              <a:ext uri="{FF2B5EF4-FFF2-40B4-BE49-F238E27FC236}">
                <a16:creationId xmlns:a16="http://schemas.microsoft.com/office/drawing/2014/main" id="{B4ED4EFE-0F9A-4A65-8CCB-E6C835597CC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88225" y="5421164"/>
            <a:ext cx="492134" cy="492134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2E0D104A-A2D3-4C09-A9FE-586B53AC7085}"/>
              </a:ext>
            </a:extLst>
          </p:cNvPr>
          <p:cNvSpPr/>
          <p:nvPr/>
        </p:nvSpPr>
        <p:spPr>
          <a:xfrm>
            <a:off x="5379752" y="5365444"/>
            <a:ext cx="86113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s-AR" sz="1400" b="1" dirty="0" err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Metrics</a:t>
            </a:r>
            <a:endParaRPr lang="es-AR" sz="14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algn="ctr"/>
            <a:r>
              <a:rPr lang="es-AR" sz="1400" b="1" dirty="0" err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Phase</a:t>
            </a:r>
            <a:r>
              <a:rPr lang="es-AR" sz="14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 1</a:t>
            </a:r>
          </a:p>
        </p:txBody>
      </p:sp>
      <p:sp>
        <p:nvSpPr>
          <p:cNvPr id="40" name="Arrow: Right 39">
            <a:extLst>
              <a:ext uri="{FF2B5EF4-FFF2-40B4-BE49-F238E27FC236}">
                <a16:creationId xmlns:a16="http://schemas.microsoft.com/office/drawing/2014/main" id="{296B90E0-7A5E-45B1-8F99-7BDCDDC17135}"/>
              </a:ext>
            </a:extLst>
          </p:cNvPr>
          <p:cNvSpPr/>
          <p:nvPr/>
        </p:nvSpPr>
        <p:spPr>
          <a:xfrm>
            <a:off x="5198364" y="5812073"/>
            <a:ext cx="1072031" cy="425172"/>
          </a:xfrm>
          <a:prstGeom prst="rightArrow">
            <a:avLst/>
          </a:prstGeom>
          <a:solidFill>
            <a:schemeClr val="accent5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Speech Bubble: Rectangle 57">
            <a:extLst>
              <a:ext uri="{FF2B5EF4-FFF2-40B4-BE49-F238E27FC236}">
                <a16:creationId xmlns:a16="http://schemas.microsoft.com/office/drawing/2014/main" id="{1ECD1D01-FADE-4300-8D84-2E6B1FDABB02}"/>
              </a:ext>
            </a:extLst>
          </p:cNvPr>
          <p:cNvSpPr/>
          <p:nvPr/>
        </p:nvSpPr>
        <p:spPr>
          <a:xfrm>
            <a:off x="99239" y="5427452"/>
            <a:ext cx="1846109" cy="662718"/>
          </a:xfrm>
          <a:prstGeom prst="wedgeRectCallout">
            <a:avLst>
              <a:gd name="adj1" fmla="val -20833"/>
              <a:gd name="adj2" fmla="val 25141"/>
            </a:avLst>
          </a:prstGeom>
          <a:solidFill>
            <a:schemeClr val="accent5">
              <a:lumMod val="9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400" kern="0" dirty="0">
                <a:solidFill>
                  <a:srgbClr val="FFFFFF"/>
                </a:solidFill>
              </a:rPr>
              <a:t>Metric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4" name="Graphic 33" descr="Bullseye">
            <a:extLst>
              <a:ext uri="{FF2B5EF4-FFF2-40B4-BE49-F238E27FC236}">
                <a16:creationId xmlns:a16="http://schemas.microsoft.com/office/drawing/2014/main" id="{0029F035-5FE5-47E9-8003-735EF088E84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636422" y="5399396"/>
            <a:ext cx="492134" cy="492134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0DB33759-A8BB-4FBB-B93D-7CC39139FAEE}"/>
              </a:ext>
            </a:extLst>
          </p:cNvPr>
          <p:cNvSpPr/>
          <p:nvPr/>
        </p:nvSpPr>
        <p:spPr>
          <a:xfrm>
            <a:off x="10068161" y="5355931"/>
            <a:ext cx="910827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s-AR" sz="1400" b="1" dirty="0" err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Metrics</a:t>
            </a:r>
            <a:endParaRPr lang="es-AR" sz="14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algn="ctr"/>
            <a:r>
              <a:rPr lang="es-AR" sz="1400" b="1" dirty="0" err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Phase</a:t>
            </a:r>
            <a:r>
              <a:rPr lang="es-AR" sz="14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  2</a:t>
            </a: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0A2DCF92-CB70-420D-8601-D88F8BF0F9CF}"/>
              </a:ext>
            </a:extLst>
          </p:cNvPr>
          <p:cNvSpPr/>
          <p:nvPr/>
        </p:nvSpPr>
        <p:spPr>
          <a:xfrm>
            <a:off x="9846561" y="5790305"/>
            <a:ext cx="1072031" cy="425172"/>
          </a:xfrm>
          <a:prstGeom prst="rightArrow">
            <a:avLst/>
          </a:prstGeom>
          <a:solidFill>
            <a:schemeClr val="accent5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6" name="Graphic 45" descr="Bullseye">
            <a:extLst>
              <a:ext uri="{FF2B5EF4-FFF2-40B4-BE49-F238E27FC236}">
                <a16:creationId xmlns:a16="http://schemas.microsoft.com/office/drawing/2014/main" id="{9B0DB254-3F68-491A-A6BD-9D1EFCFEF5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936790" y="4558334"/>
            <a:ext cx="492134" cy="492134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3AC9E3AA-D399-44F2-9DBF-BA12C830C879}"/>
              </a:ext>
            </a:extLst>
          </p:cNvPr>
          <p:cNvSpPr/>
          <p:nvPr/>
        </p:nvSpPr>
        <p:spPr>
          <a:xfrm>
            <a:off x="10388627" y="4492179"/>
            <a:ext cx="1029448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s-AR" sz="1400" b="1" dirty="0" err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Playbook</a:t>
            </a:r>
            <a:r>
              <a:rPr lang="es-AR" sz="14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 </a:t>
            </a:r>
          </a:p>
          <a:p>
            <a:pPr algn="ctr"/>
            <a:r>
              <a:rPr lang="es-AR" sz="1400" b="1" dirty="0" err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Validation</a:t>
            </a:r>
            <a:endParaRPr lang="es-AR" sz="14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700B4122-BE89-4773-B9B4-7449ED6A3895}"/>
              </a:ext>
            </a:extLst>
          </p:cNvPr>
          <p:cNvSpPr/>
          <p:nvPr/>
        </p:nvSpPr>
        <p:spPr>
          <a:xfrm>
            <a:off x="9694168" y="4984755"/>
            <a:ext cx="1072031" cy="425172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ound Same Side Corner Rectangle 69">
            <a:extLst>
              <a:ext uri="{FF2B5EF4-FFF2-40B4-BE49-F238E27FC236}">
                <a16:creationId xmlns:a16="http://schemas.microsoft.com/office/drawing/2014/main" id="{1B8A568E-D9CD-4E5C-90F1-DB94EF93708F}"/>
              </a:ext>
            </a:extLst>
          </p:cNvPr>
          <p:cNvSpPr/>
          <p:nvPr/>
        </p:nvSpPr>
        <p:spPr>
          <a:xfrm>
            <a:off x="11205840" y="896510"/>
            <a:ext cx="729112" cy="523220"/>
          </a:xfrm>
          <a:prstGeom prst="round2Same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387518F-0424-4005-93CD-6240E797C017}"/>
              </a:ext>
            </a:extLst>
          </p:cNvPr>
          <p:cNvCxnSpPr>
            <a:cxnSpLocks/>
          </p:cNvCxnSpPr>
          <p:nvPr/>
        </p:nvCxnSpPr>
        <p:spPr>
          <a:xfrm>
            <a:off x="11205840" y="1601085"/>
            <a:ext cx="0" cy="4312213"/>
          </a:xfrm>
          <a:prstGeom prst="line">
            <a:avLst/>
          </a:prstGeom>
          <a:ln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DD74C43-3736-4D03-8141-CBE40246AEA3}"/>
              </a:ext>
            </a:extLst>
          </p:cNvPr>
          <p:cNvSpPr/>
          <p:nvPr/>
        </p:nvSpPr>
        <p:spPr>
          <a:xfrm>
            <a:off x="10987648" y="2903512"/>
            <a:ext cx="1177365" cy="954107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es-AR" sz="1400" b="1" dirty="0">
                <a:latin typeface="Arial" panose="020B0604020202020204" pitchFamily="34" charset="0"/>
              </a:rPr>
              <a:t>Roll-</a:t>
            </a:r>
            <a:r>
              <a:rPr lang="es-AR" sz="1400" b="1" dirty="0" err="1">
                <a:latin typeface="Arial" panose="020B0604020202020204" pitchFamily="34" charset="0"/>
              </a:rPr>
              <a:t>out</a:t>
            </a:r>
            <a:endParaRPr lang="es-AR" sz="1400" b="1" dirty="0">
              <a:latin typeface="Arial" panose="020B0604020202020204" pitchFamily="34" charset="0"/>
            </a:endParaRPr>
          </a:p>
          <a:p>
            <a:pPr algn="ctr"/>
            <a:r>
              <a:rPr lang="es-AR" sz="1400" b="1" dirty="0">
                <a:latin typeface="Arial" panose="020B0604020202020204" pitchFamily="34" charset="0"/>
              </a:rPr>
              <a:t>&amp; </a:t>
            </a:r>
          </a:p>
          <a:p>
            <a:pPr algn="ctr"/>
            <a:r>
              <a:rPr lang="es-AR" sz="1400" b="1" dirty="0" err="1">
                <a:latin typeface="Arial" panose="020B0604020202020204" pitchFamily="34" charset="0"/>
              </a:rPr>
              <a:t>Opex</a:t>
            </a:r>
            <a:r>
              <a:rPr lang="es-AR" sz="1400" b="1" dirty="0">
                <a:latin typeface="Arial" panose="020B0604020202020204" pitchFamily="34" charset="0"/>
              </a:rPr>
              <a:t> </a:t>
            </a:r>
            <a:r>
              <a:rPr lang="es-AR" sz="1400" b="1" dirty="0" err="1">
                <a:latin typeface="Arial" panose="020B0604020202020204" pitchFamily="34" charset="0"/>
              </a:rPr>
              <a:t>Programs</a:t>
            </a:r>
            <a:endParaRPr lang="es-AR" sz="1400" b="1" dirty="0">
              <a:latin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C388082-565D-4C70-8F5E-03455E4E4708}"/>
              </a:ext>
            </a:extLst>
          </p:cNvPr>
          <p:cNvSpPr txBox="1"/>
          <p:nvPr/>
        </p:nvSpPr>
        <p:spPr>
          <a:xfrm>
            <a:off x="2859509" y="62851"/>
            <a:ext cx="8918834" cy="738664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etings </a:t>
            </a: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2 Reuniones semanales por semana con el Core Team ( Propuesta: Lunes </a:t>
            </a:r>
            <a:r>
              <a:rPr kumimoji="0" lang="es-AR" sz="12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 Miércoles)</a:t>
            </a:r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	     - Reuniones Ad-hoc para </a:t>
            </a: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actualizar proceso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actua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Roboto"/>
              </a:rPr>
              <a:t>	     -  Managers: Envio de </a:t>
            </a:r>
            <a:r>
              <a:rPr lang="es-AR" sz="1200" dirty="0">
                <a:solidFill>
                  <a:srgbClr val="000000"/>
                </a:solidFill>
                <a:latin typeface="Roboto"/>
              </a:rPr>
              <a:t>Información</a:t>
            </a:r>
            <a:r>
              <a:rPr lang="en-US" sz="1200" dirty="0">
                <a:solidFill>
                  <a:srgbClr val="000000"/>
                </a:solidFill>
                <a:latin typeface="Roboto"/>
              </a:rPr>
              <a:t> para feedback y Reunion de </a:t>
            </a:r>
            <a:r>
              <a:rPr lang="es-AR" sz="1200" dirty="0">
                <a:solidFill>
                  <a:srgbClr val="000000"/>
                </a:solidFill>
                <a:latin typeface="Roboto"/>
              </a:rPr>
              <a:t>Seguimiento</a:t>
            </a:r>
            <a:endParaRPr kumimoji="0" lang="es-AR" sz="12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2693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fdewlEBby_bz.S5LHs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PUns9bQeqnLvJuNjwL6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_aRsmRZKyN0bJcKOe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Lq9FP3TRSBhR6NESzO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gqhOiPQGaGVZJCdIN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IZs7PKrCzY_q4pepotu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_aRsmRZKyN0bJcKOe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BIFO.LCqmtdI889n6X6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xu09lLgcU0G53.r_s6.O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C54J4mfU.q5d20F1_B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3H61Do7kW1ZacyHYod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3H61Do7kW1ZacyHYod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C54J4mfU.q5d20F1_B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3H61Do7kW1ZacyHYodr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C54J4mfU.q5d20F1_B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C54J4mfU.q5d20F1_BD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3H61Do7kW1ZacyHYod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Lq9FP3TRSBhR6NESzOG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gqhOiPQGaGVZJCdINL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_aRsmRZKyN0bJcKOe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9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9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3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0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>
            <a:lumMod val="50000"/>
          </a:schemeClr>
        </a:solidFill>
        <a:ln w="3175" cap="sq">
          <a:solidFill>
            <a:schemeClr val="tx1"/>
          </a:solidFill>
        </a:ln>
        <a:scene3d>
          <a:camera prst="orthographicFront"/>
          <a:lightRig rig="threePt" dir="t"/>
        </a:scene3d>
        <a:sp3d extrusionH="1270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4000" dirty="0">
            <a:solidFill>
              <a:schemeClr val="accent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CDA1BA36C978448CBAF5272A4B9CB9" ma:contentTypeVersion="11" ma:contentTypeDescription="Create a new document." ma:contentTypeScope="" ma:versionID="6ccf7e533271224f70819b5ce00456bf">
  <xsd:schema xmlns:xsd="http://www.w3.org/2001/XMLSchema" xmlns:xs="http://www.w3.org/2001/XMLSchema" xmlns:p="http://schemas.microsoft.com/office/2006/metadata/properties" xmlns:ns3="680ad4f8-c4db-4cdc-a402-8b447bb6bdb9" xmlns:ns4="7b291b19-ab28-4952-9396-cba68d605430" targetNamespace="http://schemas.microsoft.com/office/2006/metadata/properties" ma:root="true" ma:fieldsID="bc24ac3f1420e60808a7d53d4376f356" ns3:_="" ns4:_="">
    <xsd:import namespace="680ad4f8-c4db-4cdc-a402-8b447bb6bdb9"/>
    <xsd:import namespace="7b291b19-ab28-4952-9396-cba68d60543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ad4f8-c4db-4cdc-a402-8b447bb6bd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291b19-ab28-4952-9396-cba68d60543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4421A9D-7D44-4237-881D-4EA54579865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A8A5CCD-6006-463C-B244-E404C2A11027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7b291b19-ab28-4952-9396-cba68d605430"/>
    <ds:schemaRef ds:uri="680ad4f8-c4db-4cdc-a402-8b447bb6bdb9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5F61393-0ADF-4E8A-8F1E-4E5C84ED0B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ad4f8-c4db-4cdc-a402-8b447bb6bdb9"/>
    <ds:schemaRef ds:uri="7b291b19-ab28-4952-9396-cba68d6054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738</TotalTime>
  <Words>708</Words>
  <Application>Microsoft Office PowerPoint</Application>
  <PresentationFormat>Panorámica</PresentationFormat>
  <Paragraphs>180</Paragraphs>
  <Slides>10</Slides>
  <Notes>9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24" baseType="lpstr">
      <vt:lpstr>Arial</vt:lpstr>
      <vt:lpstr>Arial Rounded MT Bold</vt:lpstr>
      <vt:lpstr>Calibri</vt:lpstr>
      <vt:lpstr>Fungo</vt:lpstr>
      <vt:lpstr>Manus</vt:lpstr>
      <vt:lpstr>Roboto</vt:lpstr>
      <vt:lpstr>Wingdings</vt:lpstr>
      <vt:lpstr>21_Personalizar design</vt:lpstr>
      <vt:lpstr>19_Personalizar design</vt:lpstr>
      <vt:lpstr>9_Personalizar Design</vt:lpstr>
      <vt:lpstr>13_Personalizar Design</vt:lpstr>
      <vt:lpstr>10_Personalizar Design</vt:lpstr>
      <vt:lpstr>1_Personalizar Design</vt:lpstr>
      <vt:lpstr>think-cell Slide</vt:lpstr>
      <vt:lpstr>Presentación de PowerPoint</vt:lpstr>
      <vt:lpstr>Presentación de PowerPoint</vt:lpstr>
      <vt:lpstr>Warehouses LAO Strategy 2021 Our Methodology to achieve this Transformation  </vt:lpstr>
      <vt:lpstr>Presentación de PowerPoint</vt:lpstr>
      <vt:lpstr>Modelo OPEX - Macro-Procesos para DCs LAO  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lark, Connie</dc:creator>
  <cp:lastModifiedBy>Clark, Connie</cp:lastModifiedBy>
  <cp:revision>14</cp:revision>
  <dcterms:created xsi:type="dcterms:W3CDTF">2020-11-17T15:48:47Z</dcterms:created>
  <dcterms:modified xsi:type="dcterms:W3CDTF">2021-03-01T18:1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a425e9-ff5b-4164-ab21-177a29e6432d_Enabled">
    <vt:lpwstr>True</vt:lpwstr>
  </property>
  <property fmtid="{D5CDD505-2E9C-101B-9397-08002B2CF9AE}" pid="3" name="MSIP_Label_f3a425e9-ff5b-4164-ab21-177a29e6432d_SiteId">
    <vt:lpwstr>fee2180b-69b6-4afe-9f14-ccd70bd4c737</vt:lpwstr>
  </property>
  <property fmtid="{D5CDD505-2E9C-101B-9397-08002B2CF9AE}" pid="4" name="MSIP_Label_f3a425e9-ff5b-4164-ab21-177a29e6432d_Owner">
    <vt:lpwstr>Maria.C.Clark@kcc.com</vt:lpwstr>
  </property>
  <property fmtid="{D5CDD505-2E9C-101B-9397-08002B2CF9AE}" pid="5" name="MSIP_Label_f3a425e9-ff5b-4164-ab21-177a29e6432d_SetDate">
    <vt:lpwstr>2020-11-18T13:08:20.2173161Z</vt:lpwstr>
  </property>
  <property fmtid="{D5CDD505-2E9C-101B-9397-08002B2CF9AE}" pid="6" name="MSIP_Label_f3a425e9-ff5b-4164-ab21-177a29e6432d_Name">
    <vt:lpwstr>K-C Internal Only</vt:lpwstr>
  </property>
  <property fmtid="{D5CDD505-2E9C-101B-9397-08002B2CF9AE}" pid="7" name="MSIP_Label_f3a425e9-ff5b-4164-ab21-177a29e6432d_Application">
    <vt:lpwstr>Microsoft Azure Information Protection</vt:lpwstr>
  </property>
  <property fmtid="{D5CDD505-2E9C-101B-9397-08002B2CF9AE}" pid="8" name="MSIP_Label_f3a425e9-ff5b-4164-ab21-177a29e6432d_ActionId">
    <vt:lpwstr>b7278a03-264e-4572-8998-f8b8cc726946</vt:lpwstr>
  </property>
  <property fmtid="{D5CDD505-2E9C-101B-9397-08002B2CF9AE}" pid="9" name="MSIP_Label_f3a425e9-ff5b-4164-ab21-177a29e6432d_Extended_MSFT_Method">
    <vt:lpwstr>Manual</vt:lpwstr>
  </property>
  <property fmtid="{D5CDD505-2E9C-101B-9397-08002B2CF9AE}" pid="10" name="MSIP_Label_3f52e709-27cd-4bee-a620-278331e736b2_Enabled">
    <vt:lpwstr>True</vt:lpwstr>
  </property>
  <property fmtid="{D5CDD505-2E9C-101B-9397-08002B2CF9AE}" pid="11" name="MSIP_Label_3f52e709-27cd-4bee-a620-278331e736b2_SiteId">
    <vt:lpwstr>fee2180b-69b6-4afe-9f14-ccd70bd4c737</vt:lpwstr>
  </property>
  <property fmtid="{D5CDD505-2E9C-101B-9397-08002B2CF9AE}" pid="12" name="MSIP_Label_3f52e709-27cd-4bee-a620-278331e736b2_Owner">
    <vt:lpwstr>Maria.C.Clark@kcc.com</vt:lpwstr>
  </property>
  <property fmtid="{D5CDD505-2E9C-101B-9397-08002B2CF9AE}" pid="13" name="MSIP_Label_3f52e709-27cd-4bee-a620-278331e736b2_SetDate">
    <vt:lpwstr>2020-11-18T13:08:20.2173161Z</vt:lpwstr>
  </property>
  <property fmtid="{D5CDD505-2E9C-101B-9397-08002B2CF9AE}" pid="14" name="MSIP_Label_3f52e709-27cd-4bee-a620-278331e736b2_Name">
    <vt:lpwstr>Without Content Marking</vt:lpwstr>
  </property>
  <property fmtid="{D5CDD505-2E9C-101B-9397-08002B2CF9AE}" pid="15" name="MSIP_Label_3f52e709-27cd-4bee-a620-278331e736b2_Application">
    <vt:lpwstr>Microsoft Azure Information Protection</vt:lpwstr>
  </property>
  <property fmtid="{D5CDD505-2E9C-101B-9397-08002B2CF9AE}" pid="16" name="MSIP_Label_3f52e709-27cd-4bee-a620-278331e736b2_ActionId">
    <vt:lpwstr>b7278a03-264e-4572-8998-f8b8cc726946</vt:lpwstr>
  </property>
  <property fmtid="{D5CDD505-2E9C-101B-9397-08002B2CF9AE}" pid="17" name="MSIP_Label_3f52e709-27cd-4bee-a620-278331e736b2_Parent">
    <vt:lpwstr>f3a425e9-ff5b-4164-ab21-177a29e6432d</vt:lpwstr>
  </property>
  <property fmtid="{D5CDD505-2E9C-101B-9397-08002B2CF9AE}" pid="18" name="MSIP_Label_3f52e709-27cd-4bee-a620-278331e736b2_Extended_MSFT_Method">
    <vt:lpwstr>Manual</vt:lpwstr>
  </property>
  <property fmtid="{D5CDD505-2E9C-101B-9397-08002B2CF9AE}" pid="19" name="KCAutoClass">
    <vt:lpwstr>K-C Internal Only Without Content Marking</vt:lpwstr>
  </property>
  <property fmtid="{D5CDD505-2E9C-101B-9397-08002B2CF9AE}" pid="20" name="ContentTypeId">
    <vt:lpwstr>0x010100DFCDA1BA36C978448CBAF5272A4B9CB9</vt:lpwstr>
  </property>
</Properties>
</file>